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9"/>
  </p:notesMasterIdLst>
  <p:handoutMasterIdLst>
    <p:handoutMasterId r:id="rId10"/>
  </p:handoutMasterIdLst>
  <p:sldIdLst>
    <p:sldId id="544" r:id="rId3"/>
    <p:sldId id="2288" r:id="rId4"/>
    <p:sldId id="1606" r:id="rId5"/>
    <p:sldId id="2177" r:id="rId6"/>
    <p:sldId id="2411" r:id="rId7"/>
    <p:sldId id="2534" r:id="rId8"/>
  </p:sldIdLst>
  <p:sldSz cx="9144000" cy="5143500" type="screen16x9"/>
  <p:notesSz cx="6858000" cy="9144000"/>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08"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87800"/>
    <a:srgbClr val="000000"/>
    <a:srgbClr val="494B4E"/>
    <a:srgbClr val="BD0F24"/>
    <a:srgbClr val="FFCB66"/>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showGuides="1">
      <p:cViewPr>
        <p:scale>
          <a:sx n="80" d="100"/>
          <a:sy n="80" d="100"/>
        </p:scale>
        <p:origin x="1746" y="1026"/>
      </p:cViewPr>
      <p:guideLst>
        <p:guide orient="horz" pos="1608"/>
        <p:guide pos="2880"/>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notesMaster" Target="notesMasters/notesMaster1.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3" Type="http://schemas.openxmlformats.org/officeDocument/2006/relationships/tableStyles" Target="tableStyles.xml"/><Relationship Id="rId12" Type="http://schemas.openxmlformats.org/officeDocument/2006/relationships/viewProps" Target="viewProps.xml"/><Relationship Id="rId11" Type="http://schemas.openxmlformats.org/officeDocument/2006/relationships/presProps" Target="presProps.xml"/><Relationship Id="rId10" Type="http://schemas.openxmlformats.org/officeDocument/2006/relationships/handoutMaster" Target="handoutMasters/handoutMaster1.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ea typeface="Arial" panose="020B0604020202020204" pitchFamily="34" charset="0"/>
              </a:defRPr>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ea typeface="Arial" panose="020B0604020202020204" pitchFamily="34" charset="0"/>
              </a:defRPr>
            </a:lvl1pPr>
          </a:lstStyle>
          <a:p>
            <a:fld id="{AD4A3340-C542-46E3-BB6B-1E3F28D53E89}"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ea typeface="Arial" panose="020B0604020202020204" pitchFamily="34" charset="0"/>
              </a:defRPr>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ea typeface="Arial" panose="020B0604020202020204" pitchFamily="34" charset="0"/>
              </a:defRPr>
            </a:lvl1pPr>
          </a:lstStyle>
          <a:p>
            <a:fld id="{93EAA4AF-B0AE-42C7-9AD8-C74E868F580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Arial" panose="020B0604020202020204" pitchFamily="34" charset="0"/>
        <a:ea typeface="Arial" panose="020B0604020202020204" pitchFamily="34" charset="0"/>
        <a:cs typeface="+mn-cs"/>
      </a:defRPr>
    </a:lvl1pPr>
    <a:lvl2pPr marL="342900" algn="l" defTabSz="685800" rtl="0" eaLnBrk="1" latinLnBrk="0" hangingPunct="1">
      <a:defRPr sz="900" kern="1200">
        <a:solidFill>
          <a:schemeClr val="tx1"/>
        </a:solidFill>
        <a:latin typeface="Arial" panose="020B0604020202020204" pitchFamily="34" charset="0"/>
        <a:ea typeface="Arial" panose="020B0604020202020204" pitchFamily="34" charset="0"/>
        <a:cs typeface="+mn-cs"/>
      </a:defRPr>
    </a:lvl2pPr>
    <a:lvl3pPr marL="685800" algn="l" defTabSz="685800" rtl="0" eaLnBrk="1" latinLnBrk="0" hangingPunct="1">
      <a:defRPr sz="900" kern="1200">
        <a:solidFill>
          <a:schemeClr val="tx1"/>
        </a:solidFill>
        <a:latin typeface="Arial" panose="020B0604020202020204" pitchFamily="34" charset="0"/>
        <a:ea typeface="Arial" panose="020B0604020202020204" pitchFamily="34" charset="0"/>
        <a:cs typeface="+mn-cs"/>
      </a:defRPr>
    </a:lvl3pPr>
    <a:lvl4pPr marL="1028700" algn="l" defTabSz="685800" rtl="0" eaLnBrk="1" latinLnBrk="0" hangingPunct="1">
      <a:defRPr sz="900" kern="1200">
        <a:solidFill>
          <a:schemeClr val="tx1"/>
        </a:solidFill>
        <a:latin typeface="Arial" panose="020B0604020202020204" pitchFamily="34" charset="0"/>
        <a:ea typeface="Arial" panose="020B0604020202020204" pitchFamily="34" charset="0"/>
        <a:cs typeface="+mn-cs"/>
      </a:defRPr>
    </a:lvl4pPr>
    <a:lvl5pPr marL="1371600" algn="l" defTabSz="685800" rtl="0" eaLnBrk="1" latinLnBrk="0" hangingPunct="1">
      <a:defRPr sz="900" kern="1200">
        <a:solidFill>
          <a:schemeClr val="tx1"/>
        </a:solidFill>
        <a:latin typeface="Arial" panose="020B0604020202020204" pitchFamily="34" charset="0"/>
        <a:ea typeface="Arial" panose="020B0604020202020204" pitchFamily="34" charset="0"/>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pic>
        <p:nvPicPr>
          <p:cNvPr id="3" name="图片 2"/>
          <p:cNvPicPr/>
          <p:nvPr userDrawn="1"/>
        </p:nvPicPr>
        <p:blipFill rotWithShape="1">
          <a:blip r:embed="rId2">
            <a:extLst>
              <a:ext uri="{28A0092B-C50C-407E-A947-70E740481C1C}">
                <a14:useLocalDpi xmlns:a14="http://schemas.microsoft.com/office/drawing/2010/main" val="0"/>
              </a:ext>
            </a:extLst>
          </a:blip>
          <a:srcRect r="2498" b="1878"/>
          <a:stretch>
            <a:fillRect/>
          </a:stretch>
        </p:blipFill>
        <p:spPr>
          <a:xfrm>
            <a:off x="4916907" y="0"/>
            <a:ext cx="4227094" cy="51435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Custom layout">
    <p:spTree>
      <p:nvGrpSpPr>
        <p:cNvPr id="1" name=""/>
        <p:cNvGrpSpPr/>
        <p:nvPr/>
      </p:nvGrpSpPr>
      <p:grpSpPr>
        <a:xfrm>
          <a:off x="0" y="0"/>
          <a:ext cx="0" cy="0"/>
          <a:chOff x="0" y="0"/>
          <a:chExt cx="0" cy="0"/>
        </a:xfrm>
      </p:grpSpPr>
      <p:pic>
        <p:nvPicPr>
          <p:cNvPr id="4" name="图片 3"/>
          <p:cNvPicPr/>
          <p:nvPr userDrawn="1"/>
        </p:nvPicPr>
        <p:blipFill rotWithShape="1">
          <a:blip r:embed="rId2">
            <a:extLst>
              <a:ext uri="{28A0092B-C50C-407E-A947-70E740481C1C}">
                <a14:useLocalDpi xmlns:a14="http://schemas.microsoft.com/office/drawing/2010/main" val="0"/>
              </a:ext>
            </a:extLst>
          </a:blip>
          <a:srcRect r="28208" b="1878"/>
          <a:stretch>
            <a:fillRect/>
          </a:stretch>
        </p:blipFill>
        <p:spPr>
          <a:xfrm flipH="1">
            <a:off x="0" y="0"/>
            <a:ext cx="3112438" cy="514350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Custom layout">
    <p:spTree>
      <p:nvGrpSpPr>
        <p:cNvPr id="1" name=""/>
        <p:cNvGrpSpPr/>
        <p:nvPr/>
      </p:nvGrpSpPr>
      <p:grpSpPr>
        <a:xfrm>
          <a:off x="0" y="0"/>
          <a:ext cx="0" cy="0"/>
          <a:chOff x="0" y="0"/>
          <a:chExt cx="0" cy="0"/>
        </a:xfrm>
      </p:grpSpPr>
      <p:grpSp>
        <p:nvGrpSpPr>
          <p:cNvPr id="3" name="组合 2"/>
          <p:cNvGrpSpPr/>
          <p:nvPr userDrawn="1"/>
        </p:nvGrpSpPr>
        <p:grpSpPr>
          <a:xfrm>
            <a:off x="-1" y="0"/>
            <a:ext cx="9144001" cy="5143500"/>
            <a:chOff x="-220064" y="0"/>
            <a:chExt cx="9144001" cy="5143500"/>
          </a:xfrm>
        </p:grpSpPr>
        <p:pic>
          <p:nvPicPr>
            <p:cNvPr id="4" name="图片 3"/>
            <p:cNvPicPr>
              <a:picLocks noChangeAspect="1"/>
            </p:cNvPicPr>
            <p:nvPr/>
          </p:nvPicPr>
          <p:blipFill rotWithShape="1">
            <a:blip r:embed="rId2" cstate="print">
              <a:duotone>
                <a:schemeClr val="accent6">
                  <a:shade val="45000"/>
                  <a:satMod val="135000"/>
                </a:schemeClr>
                <a:prstClr val="white"/>
              </a:duotone>
              <a:extLst>
                <a:ext uri="{28A0092B-C50C-407E-A947-70E740481C1C}">
                  <a14:useLocalDpi xmlns:a14="http://schemas.microsoft.com/office/drawing/2010/main" val="0"/>
                </a:ext>
              </a:extLst>
            </a:blip>
            <a:srcRect l="51220"/>
            <a:stretch>
              <a:fillRect/>
            </a:stretch>
          </p:blipFill>
          <p:spPr>
            <a:xfrm flipH="1">
              <a:off x="7176018" y="0"/>
              <a:ext cx="1747919" cy="5143500"/>
            </a:xfrm>
            <a:prstGeom prst="rect">
              <a:avLst/>
            </a:prstGeom>
          </p:spPr>
        </p:pic>
        <p:pic>
          <p:nvPicPr>
            <p:cNvPr id="5" name="图片 4"/>
            <p:cNvPicPr>
              <a:picLocks noChangeAspect="1"/>
            </p:cNvPicPr>
            <p:nvPr/>
          </p:nvPicPr>
          <p:blipFill rotWithShape="1">
            <a:blip r:embed="rId2" cstate="print">
              <a:duotone>
                <a:schemeClr val="accent6">
                  <a:shade val="45000"/>
                  <a:satMod val="135000"/>
                </a:schemeClr>
                <a:prstClr val="white"/>
              </a:duotone>
              <a:extLst>
                <a:ext uri="{28A0092B-C50C-407E-A947-70E740481C1C}">
                  <a14:useLocalDpi xmlns:a14="http://schemas.microsoft.com/office/drawing/2010/main" val="0"/>
                </a:ext>
              </a:extLst>
            </a:blip>
            <a:srcRect l="51220"/>
            <a:stretch>
              <a:fillRect/>
            </a:stretch>
          </p:blipFill>
          <p:spPr>
            <a:xfrm>
              <a:off x="-220064" y="0"/>
              <a:ext cx="1747919" cy="5143500"/>
            </a:xfrm>
            <a:prstGeom prst="rect">
              <a:avLst/>
            </a:prstGeom>
          </p:spPr>
        </p:pic>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1"/>
          </p:nvPr>
        </p:nvSpPr>
        <p:spPr>
          <a:xfrm>
            <a:off x="431801" y="1019148"/>
            <a:ext cx="4127222" cy="2323378"/>
          </a:xfrm>
          <a:prstGeom prst="rect">
            <a:avLst/>
          </a:prstGeom>
          <a:solidFill>
            <a:schemeClr val="accent6"/>
          </a:solidFill>
        </p:spPr>
        <p:txBody>
          <a:bodyPr anchor="ctr" anchorCtr="1"/>
          <a:lstStyle>
            <a:lvl1pPr marL="0" indent="0" algn="ctr">
              <a:buNone/>
              <a:defRPr sz="1600">
                <a:solidFill>
                  <a:schemeClr val="bg1"/>
                </a:solidFill>
              </a:defRPr>
            </a:lvl1pPr>
          </a:lstStyle>
          <a:p>
            <a:endParaRPr lang="zh-CN" altLang="en-US" dirty="0"/>
          </a:p>
        </p:txBody>
      </p:sp>
      <p:sp>
        <p:nvSpPr>
          <p:cNvPr id="5" name="Picture Placeholder 2"/>
          <p:cNvSpPr>
            <a:spLocks noGrp="1"/>
          </p:cNvSpPr>
          <p:nvPr>
            <p:ph type="pic" sz="quarter" idx="12"/>
          </p:nvPr>
        </p:nvSpPr>
        <p:spPr>
          <a:xfrm>
            <a:off x="4584979" y="2180837"/>
            <a:ext cx="4127222" cy="2323378"/>
          </a:xfrm>
          <a:prstGeom prst="rect">
            <a:avLst/>
          </a:prstGeom>
          <a:solidFill>
            <a:schemeClr val="accent6"/>
          </a:solidFill>
        </p:spPr>
        <p:txBody>
          <a:bodyPr anchor="ctr" anchorCtr="1"/>
          <a:lstStyle>
            <a:lvl1pPr marL="0" indent="0" algn="ctr">
              <a:buNone/>
              <a:defRPr sz="1600">
                <a:solidFill>
                  <a:schemeClr val="bg1"/>
                </a:solidFill>
              </a:defRPr>
            </a:lvl1pPr>
          </a:lstStyle>
          <a:p>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17" name="图片占位符 16"/>
          <p:cNvSpPr>
            <a:spLocks noGrp="1"/>
          </p:cNvSpPr>
          <p:nvPr>
            <p:ph type="pic" sz="quarter" idx="14"/>
          </p:nvPr>
        </p:nvSpPr>
        <p:spPr>
          <a:xfrm>
            <a:off x="6647004" y="771526"/>
            <a:ext cx="2070276" cy="1982445"/>
          </a:xfrm>
          <a:custGeom>
            <a:avLst/>
            <a:gdLst>
              <a:gd name="connsiteX0" fmla="*/ 0 w 2070276"/>
              <a:gd name="connsiteY0" fmla="*/ 0 h 1982445"/>
              <a:gd name="connsiteX1" fmla="*/ 2070276 w 2070276"/>
              <a:gd name="connsiteY1" fmla="*/ 0 h 1982445"/>
              <a:gd name="connsiteX2" fmla="*/ 2070276 w 2070276"/>
              <a:gd name="connsiteY2" fmla="*/ 1982445 h 1982445"/>
              <a:gd name="connsiteX3" fmla="*/ 0 w 2070276"/>
              <a:gd name="connsiteY3" fmla="*/ 1982445 h 1982445"/>
            </a:gdLst>
            <a:ahLst/>
            <a:cxnLst>
              <a:cxn ang="0">
                <a:pos x="connsiteX0" y="connsiteY0"/>
              </a:cxn>
              <a:cxn ang="0">
                <a:pos x="connsiteX1" y="connsiteY1"/>
              </a:cxn>
              <a:cxn ang="0">
                <a:pos x="connsiteX2" y="connsiteY2"/>
              </a:cxn>
              <a:cxn ang="0">
                <a:pos x="connsiteX3" y="connsiteY3"/>
              </a:cxn>
            </a:cxnLst>
            <a:rect l="l" t="t" r="r" b="b"/>
            <a:pathLst>
              <a:path w="2070276" h="1982445">
                <a:moveTo>
                  <a:pt x="0" y="0"/>
                </a:moveTo>
                <a:lnTo>
                  <a:pt x="2070276" y="0"/>
                </a:lnTo>
                <a:lnTo>
                  <a:pt x="2070276" y="1982445"/>
                </a:lnTo>
                <a:lnTo>
                  <a:pt x="0" y="1982445"/>
                </a:lnTo>
                <a:close/>
              </a:path>
            </a:pathLst>
          </a:custGeom>
          <a:solidFill>
            <a:schemeClr val="accent6"/>
          </a:solidFill>
        </p:spPr>
        <p:txBody>
          <a:bodyPr wrap="square" anchor="ctr" anchorCtr="1">
            <a:noAutofit/>
          </a:bodyPr>
          <a:lstStyle>
            <a:lvl1pPr marL="0" indent="0" algn="ctr">
              <a:buNone/>
              <a:defRPr sz="1600">
                <a:solidFill>
                  <a:schemeClr val="bg1"/>
                </a:solidFill>
              </a:defRPr>
            </a:lvl1pPr>
          </a:lstStyle>
          <a:p>
            <a:endParaRPr lang="zh-CN" altLang="en-US" dirty="0"/>
          </a:p>
        </p:txBody>
      </p:sp>
      <p:sp>
        <p:nvSpPr>
          <p:cNvPr id="15" name="图片占位符 14"/>
          <p:cNvSpPr>
            <a:spLocks noGrp="1"/>
          </p:cNvSpPr>
          <p:nvPr>
            <p:ph type="pic" sz="quarter" idx="13"/>
          </p:nvPr>
        </p:nvSpPr>
        <p:spPr>
          <a:xfrm>
            <a:off x="4574540" y="2749894"/>
            <a:ext cx="2070276" cy="1982445"/>
          </a:xfrm>
          <a:custGeom>
            <a:avLst/>
            <a:gdLst>
              <a:gd name="connsiteX0" fmla="*/ 0 w 2070276"/>
              <a:gd name="connsiteY0" fmla="*/ 0 h 1982445"/>
              <a:gd name="connsiteX1" fmla="*/ 2070276 w 2070276"/>
              <a:gd name="connsiteY1" fmla="*/ 0 h 1982445"/>
              <a:gd name="connsiteX2" fmla="*/ 2070276 w 2070276"/>
              <a:gd name="connsiteY2" fmla="*/ 1982445 h 1982445"/>
              <a:gd name="connsiteX3" fmla="*/ 0 w 2070276"/>
              <a:gd name="connsiteY3" fmla="*/ 1982445 h 1982445"/>
            </a:gdLst>
            <a:ahLst/>
            <a:cxnLst>
              <a:cxn ang="0">
                <a:pos x="connsiteX0" y="connsiteY0"/>
              </a:cxn>
              <a:cxn ang="0">
                <a:pos x="connsiteX1" y="connsiteY1"/>
              </a:cxn>
              <a:cxn ang="0">
                <a:pos x="connsiteX2" y="connsiteY2"/>
              </a:cxn>
              <a:cxn ang="0">
                <a:pos x="connsiteX3" y="connsiteY3"/>
              </a:cxn>
            </a:cxnLst>
            <a:rect l="l" t="t" r="r" b="b"/>
            <a:pathLst>
              <a:path w="2070276" h="1982445">
                <a:moveTo>
                  <a:pt x="0" y="0"/>
                </a:moveTo>
                <a:lnTo>
                  <a:pt x="2070276" y="0"/>
                </a:lnTo>
                <a:lnTo>
                  <a:pt x="2070276" y="1982445"/>
                </a:lnTo>
                <a:lnTo>
                  <a:pt x="0" y="1982445"/>
                </a:lnTo>
                <a:close/>
              </a:path>
            </a:pathLst>
          </a:custGeom>
          <a:solidFill>
            <a:schemeClr val="accent6"/>
          </a:solidFill>
        </p:spPr>
        <p:txBody>
          <a:bodyPr wrap="square" anchor="ctr" anchorCtr="1">
            <a:noAutofit/>
          </a:bodyPr>
          <a:lstStyle>
            <a:lvl1pPr marL="0" indent="0" algn="ctr">
              <a:buNone/>
              <a:defRPr sz="1600">
                <a:solidFill>
                  <a:schemeClr val="bg1"/>
                </a:solidFill>
              </a:defRPr>
            </a:lvl1pPr>
          </a:lstStyle>
          <a:p>
            <a:endParaRPr lang="zh-CN" altLang="en-US" dirty="0"/>
          </a:p>
        </p:txBody>
      </p:sp>
      <p:sp>
        <p:nvSpPr>
          <p:cNvPr id="13" name="图片占位符 12"/>
          <p:cNvSpPr>
            <a:spLocks noGrp="1"/>
          </p:cNvSpPr>
          <p:nvPr>
            <p:ph type="pic" sz="quarter" idx="12"/>
          </p:nvPr>
        </p:nvSpPr>
        <p:spPr>
          <a:xfrm>
            <a:off x="2504263" y="771526"/>
            <a:ext cx="2070276" cy="1982445"/>
          </a:xfrm>
          <a:custGeom>
            <a:avLst/>
            <a:gdLst>
              <a:gd name="connsiteX0" fmla="*/ 0 w 2070276"/>
              <a:gd name="connsiteY0" fmla="*/ 0 h 1982445"/>
              <a:gd name="connsiteX1" fmla="*/ 2070276 w 2070276"/>
              <a:gd name="connsiteY1" fmla="*/ 0 h 1982445"/>
              <a:gd name="connsiteX2" fmla="*/ 2070276 w 2070276"/>
              <a:gd name="connsiteY2" fmla="*/ 1982445 h 1982445"/>
              <a:gd name="connsiteX3" fmla="*/ 0 w 2070276"/>
              <a:gd name="connsiteY3" fmla="*/ 1982445 h 1982445"/>
            </a:gdLst>
            <a:ahLst/>
            <a:cxnLst>
              <a:cxn ang="0">
                <a:pos x="connsiteX0" y="connsiteY0"/>
              </a:cxn>
              <a:cxn ang="0">
                <a:pos x="connsiteX1" y="connsiteY1"/>
              </a:cxn>
              <a:cxn ang="0">
                <a:pos x="connsiteX2" y="connsiteY2"/>
              </a:cxn>
              <a:cxn ang="0">
                <a:pos x="connsiteX3" y="connsiteY3"/>
              </a:cxn>
            </a:cxnLst>
            <a:rect l="l" t="t" r="r" b="b"/>
            <a:pathLst>
              <a:path w="2070276" h="1982445">
                <a:moveTo>
                  <a:pt x="0" y="0"/>
                </a:moveTo>
                <a:lnTo>
                  <a:pt x="2070276" y="0"/>
                </a:lnTo>
                <a:lnTo>
                  <a:pt x="2070276" y="1982445"/>
                </a:lnTo>
                <a:lnTo>
                  <a:pt x="0" y="1982445"/>
                </a:lnTo>
                <a:close/>
              </a:path>
            </a:pathLst>
          </a:custGeom>
          <a:solidFill>
            <a:schemeClr val="accent6"/>
          </a:solidFill>
        </p:spPr>
        <p:txBody>
          <a:bodyPr wrap="square" anchor="ctr" anchorCtr="1">
            <a:noAutofit/>
          </a:bodyPr>
          <a:lstStyle>
            <a:lvl1pPr marL="0" indent="0" algn="ctr">
              <a:buNone/>
              <a:defRPr sz="1600">
                <a:solidFill>
                  <a:schemeClr val="bg1"/>
                </a:solidFill>
              </a:defRPr>
            </a:lvl1pPr>
          </a:lstStyle>
          <a:p>
            <a:endParaRPr lang="zh-CN" altLang="en-US" dirty="0"/>
          </a:p>
        </p:txBody>
      </p:sp>
      <p:sp>
        <p:nvSpPr>
          <p:cNvPr id="11" name="图片占位符 10"/>
          <p:cNvSpPr>
            <a:spLocks noGrp="1"/>
          </p:cNvSpPr>
          <p:nvPr>
            <p:ph type="pic" sz="quarter" idx="11"/>
          </p:nvPr>
        </p:nvSpPr>
        <p:spPr>
          <a:xfrm>
            <a:off x="431799" y="2749894"/>
            <a:ext cx="2070276" cy="1982445"/>
          </a:xfrm>
          <a:custGeom>
            <a:avLst/>
            <a:gdLst>
              <a:gd name="connsiteX0" fmla="*/ 0 w 2070276"/>
              <a:gd name="connsiteY0" fmla="*/ 0 h 1982445"/>
              <a:gd name="connsiteX1" fmla="*/ 2070276 w 2070276"/>
              <a:gd name="connsiteY1" fmla="*/ 0 h 1982445"/>
              <a:gd name="connsiteX2" fmla="*/ 2070276 w 2070276"/>
              <a:gd name="connsiteY2" fmla="*/ 1982445 h 1982445"/>
              <a:gd name="connsiteX3" fmla="*/ 0 w 2070276"/>
              <a:gd name="connsiteY3" fmla="*/ 1982445 h 1982445"/>
            </a:gdLst>
            <a:ahLst/>
            <a:cxnLst>
              <a:cxn ang="0">
                <a:pos x="connsiteX0" y="connsiteY0"/>
              </a:cxn>
              <a:cxn ang="0">
                <a:pos x="connsiteX1" y="connsiteY1"/>
              </a:cxn>
              <a:cxn ang="0">
                <a:pos x="connsiteX2" y="connsiteY2"/>
              </a:cxn>
              <a:cxn ang="0">
                <a:pos x="connsiteX3" y="connsiteY3"/>
              </a:cxn>
            </a:cxnLst>
            <a:rect l="l" t="t" r="r" b="b"/>
            <a:pathLst>
              <a:path w="2070276" h="1982445">
                <a:moveTo>
                  <a:pt x="0" y="0"/>
                </a:moveTo>
                <a:lnTo>
                  <a:pt x="2070276" y="0"/>
                </a:lnTo>
                <a:lnTo>
                  <a:pt x="2070276" y="1982445"/>
                </a:lnTo>
                <a:lnTo>
                  <a:pt x="0" y="1982445"/>
                </a:lnTo>
                <a:close/>
              </a:path>
            </a:pathLst>
          </a:custGeom>
          <a:solidFill>
            <a:schemeClr val="accent6"/>
          </a:solidFill>
        </p:spPr>
        <p:txBody>
          <a:bodyPr wrap="square" anchor="ctr" anchorCtr="1">
            <a:noAutofit/>
          </a:bodyPr>
          <a:lstStyle>
            <a:lvl1pPr marL="0" indent="0" algn="ctr">
              <a:buNone/>
              <a:defRPr sz="1600">
                <a:solidFill>
                  <a:schemeClr val="bg1"/>
                </a:solidFill>
              </a:defRPr>
            </a:lvl1pPr>
          </a:lstStyle>
          <a:p>
            <a:endParaRPr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Picture Placeholder 2"/>
          <p:cNvSpPr>
            <a:spLocks noGrp="1"/>
          </p:cNvSpPr>
          <p:nvPr>
            <p:ph type="pic" sz="quarter" idx="11"/>
          </p:nvPr>
        </p:nvSpPr>
        <p:spPr>
          <a:xfrm>
            <a:off x="431802" y="1146477"/>
            <a:ext cx="1907362" cy="2234675"/>
          </a:xfrm>
          <a:prstGeom prst="rect">
            <a:avLst/>
          </a:prstGeom>
          <a:solidFill>
            <a:schemeClr val="accent6"/>
          </a:solidFill>
        </p:spPr>
        <p:txBody>
          <a:bodyPr anchor="ctr" anchorCtr="1"/>
          <a:lstStyle>
            <a:lvl1pPr marL="0" indent="0" algn="ctr">
              <a:buNone/>
              <a:defRPr sz="1600">
                <a:solidFill>
                  <a:schemeClr val="bg1"/>
                </a:solidFill>
              </a:defRPr>
            </a:lvl1pPr>
          </a:lstStyle>
          <a:p>
            <a:endParaRPr lang="zh-CN" altLang="en-US" dirty="0"/>
          </a:p>
        </p:txBody>
      </p:sp>
      <p:sp>
        <p:nvSpPr>
          <p:cNvPr id="9" name="Picture Placeholder 2"/>
          <p:cNvSpPr>
            <a:spLocks noGrp="1"/>
          </p:cNvSpPr>
          <p:nvPr>
            <p:ph type="pic" sz="quarter" idx="12"/>
          </p:nvPr>
        </p:nvSpPr>
        <p:spPr>
          <a:xfrm>
            <a:off x="2556147" y="1146478"/>
            <a:ext cx="1907362" cy="2234674"/>
          </a:xfrm>
          <a:prstGeom prst="rect">
            <a:avLst/>
          </a:prstGeom>
          <a:solidFill>
            <a:schemeClr val="accent6"/>
          </a:solidFill>
        </p:spPr>
        <p:txBody>
          <a:bodyPr anchor="ctr" anchorCtr="1"/>
          <a:lstStyle>
            <a:lvl1pPr marL="0" indent="0" algn="ctr">
              <a:buNone/>
              <a:defRPr sz="1600">
                <a:solidFill>
                  <a:schemeClr val="bg1"/>
                </a:solidFill>
              </a:defRPr>
            </a:lvl1pPr>
          </a:lstStyle>
          <a:p>
            <a:endParaRPr lang="zh-CN" altLang="en-US" dirty="0"/>
          </a:p>
        </p:txBody>
      </p:sp>
      <p:sp>
        <p:nvSpPr>
          <p:cNvPr id="10" name="Picture Placeholder 2"/>
          <p:cNvSpPr>
            <a:spLocks noGrp="1"/>
          </p:cNvSpPr>
          <p:nvPr>
            <p:ph type="pic" sz="quarter" idx="13"/>
          </p:nvPr>
        </p:nvSpPr>
        <p:spPr>
          <a:xfrm>
            <a:off x="4680492" y="1146478"/>
            <a:ext cx="1907362" cy="2234674"/>
          </a:xfrm>
          <a:prstGeom prst="rect">
            <a:avLst/>
          </a:prstGeom>
          <a:solidFill>
            <a:schemeClr val="accent6"/>
          </a:solidFill>
        </p:spPr>
        <p:txBody>
          <a:bodyPr anchor="ctr" anchorCtr="1"/>
          <a:lstStyle>
            <a:lvl1pPr marL="0" indent="0" algn="ctr">
              <a:buNone/>
              <a:defRPr sz="1600">
                <a:solidFill>
                  <a:schemeClr val="bg1"/>
                </a:solidFill>
              </a:defRPr>
            </a:lvl1pPr>
          </a:lstStyle>
          <a:p>
            <a:endParaRPr lang="zh-CN" altLang="en-US" dirty="0"/>
          </a:p>
        </p:txBody>
      </p:sp>
      <p:sp>
        <p:nvSpPr>
          <p:cNvPr id="11" name="Picture Placeholder 2"/>
          <p:cNvSpPr>
            <a:spLocks noGrp="1"/>
          </p:cNvSpPr>
          <p:nvPr>
            <p:ph type="pic" sz="quarter" idx="14"/>
          </p:nvPr>
        </p:nvSpPr>
        <p:spPr>
          <a:xfrm>
            <a:off x="6804836" y="1146478"/>
            <a:ext cx="1907362" cy="2234674"/>
          </a:xfrm>
          <a:prstGeom prst="rect">
            <a:avLst/>
          </a:prstGeom>
          <a:solidFill>
            <a:schemeClr val="accent6"/>
          </a:solidFill>
        </p:spPr>
        <p:txBody>
          <a:bodyPr anchor="ctr" anchorCtr="1"/>
          <a:lstStyle>
            <a:lvl1pPr marL="0" indent="0" algn="ctr">
              <a:buNone/>
              <a:defRPr sz="1600">
                <a:solidFill>
                  <a:schemeClr val="bg1"/>
                </a:solidFill>
              </a:defRPr>
            </a:lvl1pPr>
          </a:lstStyle>
          <a:p>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图片占位符 4"/>
          <p:cNvSpPr>
            <a:spLocks noGrp="1"/>
          </p:cNvSpPr>
          <p:nvPr>
            <p:ph type="pic" sz="quarter" idx="11"/>
          </p:nvPr>
        </p:nvSpPr>
        <p:spPr>
          <a:xfrm>
            <a:off x="4160305" y="1022684"/>
            <a:ext cx="4578962" cy="3838546"/>
          </a:xfrm>
          <a:prstGeom prst="rect">
            <a:avLst/>
          </a:prstGeom>
          <a:solidFill>
            <a:schemeClr val="accent6"/>
          </a:solidFill>
        </p:spPr>
        <p:txBody>
          <a:bodyPr wrap="square" anchor="ctr" anchorCtr="1">
            <a:noAutofit/>
          </a:bodyPr>
          <a:lstStyle>
            <a:lvl1pPr marL="0" indent="0" algn="ctr">
              <a:buNone/>
              <a:defRPr sz="1600">
                <a:solidFill>
                  <a:schemeClr val="bg1"/>
                </a:solidFill>
              </a:defRPr>
            </a:lvl1pPr>
          </a:lstStyle>
          <a:p>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矩形 2"/>
          <p:cNvSpPr/>
          <p:nvPr userDrawn="1"/>
        </p:nvSpPr>
        <p:spPr>
          <a:xfrm>
            <a:off x="0" y="206612"/>
            <a:ext cx="327340" cy="659656"/>
          </a:xfrm>
          <a:prstGeom prst="rect">
            <a:avLst/>
          </a:prstGeom>
          <a:solidFill>
            <a:srgbClr val="494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99" Type="http://schemas.openxmlformats.org/officeDocument/2006/relationships/tags" Target="../tags/tag99.xml"/><Relationship Id="rId98" Type="http://schemas.openxmlformats.org/officeDocument/2006/relationships/tags" Target="../tags/tag98.xml"/><Relationship Id="rId97" Type="http://schemas.openxmlformats.org/officeDocument/2006/relationships/tags" Target="../tags/tag97.xml"/><Relationship Id="rId96" Type="http://schemas.openxmlformats.org/officeDocument/2006/relationships/tags" Target="../tags/tag96.xml"/><Relationship Id="rId95" Type="http://schemas.openxmlformats.org/officeDocument/2006/relationships/tags" Target="../tags/tag95.xml"/><Relationship Id="rId94" Type="http://schemas.openxmlformats.org/officeDocument/2006/relationships/tags" Target="../tags/tag94.xml"/><Relationship Id="rId93" Type="http://schemas.openxmlformats.org/officeDocument/2006/relationships/tags" Target="../tags/tag93.xml"/><Relationship Id="rId92" Type="http://schemas.openxmlformats.org/officeDocument/2006/relationships/tags" Target="../tags/tag92.xml"/><Relationship Id="rId91" Type="http://schemas.openxmlformats.org/officeDocument/2006/relationships/tags" Target="../tags/tag91.xml"/><Relationship Id="rId90" Type="http://schemas.openxmlformats.org/officeDocument/2006/relationships/tags" Target="../tags/tag90.xml"/><Relationship Id="rId9" Type="http://schemas.openxmlformats.org/officeDocument/2006/relationships/tags" Target="../tags/tag9.xml"/><Relationship Id="rId89" Type="http://schemas.openxmlformats.org/officeDocument/2006/relationships/tags" Target="../tags/tag89.xml"/><Relationship Id="rId88" Type="http://schemas.openxmlformats.org/officeDocument/2006/relationships/tags" Target="../tags/tag88.xml"/><Relationship Id="rId87" Type="http://schemas.openxmlformats.org/officeDocument/2006/relationships/tags" Target="../tags/tag87.xml"/><Relationship Id="rId86" Type="http://schemas.openxmlformats.org/officeDocument/2006/relationships/tags" Target="../tags/tag86.xml"/><Relationship Id="rId85" Type="http://schemas.openxmlformats.org/officeDocument/2006/relationships/tags" Target="../tags/tag85.xml"/><Relationship Id="rId84" Type="http://schemas.openxmlformats.org/officeDocument/2006/relationships/tags" Target="../tags/tag84.xml"/><Relationship Id="rId83" Type="http://schemas.openxmlformats.org/officeDocument/2006/relationships/tags" Target="../tags/tag83.xml"/><Relationship Id="rId82" Type="http://schemas.openxmlformats.org/officeDocument/2006/relationships/tags" Target="../tags/tag82.xml"/><Relationship Id="rId81" Type="http://schemas.openxmlformats.org/officeDocument/2006/relationships/tags" Target="../tags/tag81.xml"/><Relationship Id="rId80" Type="http://schemas.openxmlformats.org/officeDocument/2006/relationships/tags" Target="../tags/tag80.xml"/><Relationship Id="rId8" Type="http://schemas.openxmlformats.org/officeDocument/2006/relationships/tags" Target="../tags/tag8.xml"/><Relationship Id="rId79" Type="http://schemas.openxmlformats.org/officeDocument/2006/relationships/tags" Target="../tags/tag79.xml"/><Relationship Id="rId78" Type="http://schemas.openxmlformats.org/officeDocument/2006/relationships/tags" Target="../tags/tag78.xml"/><Relationship Id="rId77" Type="http://schemas.openxmlformats.org/officeDocument/2006/relationships/tags" Target="../tags/tag77.xml"/><Relationship Id="rId76" Type="http://schemas.openxmlformats.org/officeDocument/2006/relationships/tags" Target="../tags/tag76.xml"/><Relationship Id="rId75" Type="http://schemas.openxmlformats.org/officeDocument/2006/relationships/tags" Target="../tags/tag75.xml"/><Relationship Id="rId74" Type="http://schemas.openxmlformats.org/officeDocument/2006/relationships/tags" Target="../tags/tag74.xml"/><Relationship Id="rId73" Type="http://schemas.openxmlformats.org/officeDocument/2006/relationships/tags" Target="../tags/tag73.xml"/><Relationship Id="rId72" Type="http://schemas.openxmlformats.org/officeDocument/2006/relationships/tags" Target="../tags/tag72.xml"/><Relationship Id="rId71" Type="http://schemas.openxmlformats.org/officeDocument/2006/relationships/tags" Target="../tags/tag71.xml"/><Relationship Id="rId70" Type="http://schemas.openxmlformats.org/officeDocument/2006/relationships/tags" Target="../tags/tag70.xml"/><Relationship Id="rId7" Type="http://schemas.openxmlformats.org/officeDocument/2006/relationships/tags" Target="../tags/tag7.xml"/><Relationship Id="rId69" Type="http://schemas.openxmlformats.org/officeDocument/2006/relationships/tags" Target="../tags/tag69.xml"/><Relationship Id="rId68" Type="http://schemas.openxmlformats.org/officeDocument/2006/relationships/tags" Target="../tags/tag68.xml"/><Relationship Id="rId67" Type="http://schemas.openxmlformats.org/officeDocument/2006/relationships/tags" Target="../tags/tag67.xml"/><Relationship Id="rId66" Type="http://schemas.openxmlformats.org/officeDocument/2006/relationships/tags" Target="../tags/tag66.xml"/><Relationship Id="rId65" Type="http://schemas.openxmlformats.org/officeDocument/2006/relationships/tags" Target="../tags/tag65.xml"/><Relationship Id="rId64" Type="http://schemas.openxmlformats.org/officeDocument/2006/relationships/tags" Target="../tags/tag64.xml"/><Relationship Id="rId63" Type="http://schemas.openxmlformats.org/officeDocument/2006/relationships/tags" Target="../tags/tag63.xml"/><Relationship Id="rId62" Type="http://schemas.openxmlformats.org/officeDocument/2006/relationships/tags" Target="../tags/tag62.xml"/><Relationship Id="rId61" Type="http://schemas.openxmlformats.org/officeDocument/2006/relationships/tags" Target="../tags/tag61.xml"/><Relationship Id="rId60" Type="http://schemas.openxmlformats.org/officeDocument/2006/relationships/tags" Target="../tags/tag60.xml"/><Relationship Id="rId6" Type="http://schemas.openxmlformats.org/officeDocument/2006/relationships/tags" Target="../tags/tag6.xml"/><Relationship Id="rId59" Type="http://schemas.openxmlformats.org/officeDocument/2006/relationships/tags" Target="../tags/tag59.xml"/><Relationship Id="rId58" Type="http://schemas.openxmlformats.org/officeDocument/2006/relationships/tags" Target="../tags/tag58.xml"/><Relationship Id="rId57" Type="http://schemas.openxmlformats.org/officeDocument/2006/relationships/tags" Target="../tags/tag57.xml"/><Relationship Id="rId56" Type="http://schemas.openxmlformats.org/officeDocument/2006/relationships/tags" Target="../tags/tag56.xml"/><Relationship Id="rId55" Type="http://schemas.openxmlformats.org/officeDocument/2006/relationships/tags" Target="../tags/tag55.xml"/><Relationship Id="rId54" Type="http://schemas.openxmlformats.org/officeDocument/2006/relationships/tags" Target="../tags/tag54.xml"/><Relationship Id="rId53" Type="http://schemas.openxmlformats.org/officeDocument/2006/relationships/tags" Target="../tags/tag53.xml"/><Relationship Id="rId52" Type="http://schemas.openxmlformats.org/officeDocument/2006/relationships/tags" Target="../tags/tag52.xml"/><Relationship Id="rId51" Type="http://schemas.openxmlformats.org/officeDocument/2006/relationships/tags" Target="../tags/tag51.xml"/><Relationship Id="rId50" Type="http://schemas.openxmlformats.org/officeDocument/2006/relationships/tags" Target="../tags/tag50.xml"/><Relationship Id="rId5" Type="http://schemas.openxmlformats.org/officeDocument/2006/relationships/tags" Target="../tags/tag5.xml"/><Relationship Id="rId49" Type="http://schemas.openxmlformats.org/officeDocument/2006/relationships/tags" Target="../tags/tag49.xml"/><Relationship Id="rId48" Type="http://schemas.openxmlformats.org/officeDocument/2006/relationships/tags" Target="../tags/tag48.xml"/><Relationship Id="rId47" Type="http://schemas.openxmlformats.org/officeDocument/2006/relationships/tags" Target="../tags/tag47.xml"/><Relationship Id="rId46" Type="http://schemas.openxmlformats.org/officeDocument/2006/relationships/tags" Target="../tags/tag46.xml"/><Relationship Id="rId45" Type="http://schemas.openxmlformats.org/officeDocument/2006/relationships/tags" Target="../tags/tag45.xml"/><Relationship Id="rId44" Type="http://schemas.openxmlformats.org/officeDocument/2006/relationships/tags" Target="../tags/tag44.xml"/><Relationship Id="rId43" Type="http://schemas.openxmlformats.org/officeDocument/2006/relationships/tags" Target="../tags/tag43.xml"/><Relationship Id="rId42" Type="http://schemas.openxmlformats.org/officeDocument/2006/relationships/tags" Target="../tags/tag42.xml"/><Relationship Id="rId41" Type="http://schemas.openxmlformats.org/officeDocument/2006/relationships/tags" Target="../tags/tag41.xml"/><Relationship Id="rId40" Type="http://schemas.openxmlformats.org/officeDocument/2006/relationships/tags" Target="../tags/tag40.xml"/><Relationship Id="rId4" Type="http://schemas.openxmlformats.org/officeDocument/2006/relationships/tags" Target="../tags/tag4.xml"/><Relationship Id="rId39" Type="http://schemas.openxmlformats.org/officeDocument/2006/relationships/tags" Target="../tags/tag39.xml"/><Relationship Id="rId38" Type="http://schemas.openxmlformats.org/officeDocument/2006/relationships/tags" Target="../tags/tag38.xml"/><Relationship Id="rId37" Type="http://schemas.openxmlformats.org/officeDocument/2006/relationships/tags" Target="../tags/tag37.xml"/><Relationship Id="rId36" Type="http://schemas.openxmlformats.org/officeDocument/2006/relationships/tags" Target="../tags/tag36.xml"/><Relationship Id="rId35" Type="http://schemas.openxmlformats.org/officeDocument/2006/relationships/tags" Target="../tags/tag35.xml"/><Relationship Id="rId34" Type="http://schemas.openxmlformats.org/officeDocument/2006/relationships/tags" Target="../tags/tag34.xml"/><Relationship Id="rId33" Type="http://schemas.openxmlformats.org/officeDocument/2006/relationships/tags" Target="../tags/tag33.xml"/><Relationship Id="rId32" Type="http://schemas.openxmlformats.org/officeDocument/2006/relationships/tags" Target="../tags/tag32.xml"/><Relationship Id="rId31" Type="http://schemas.openxmlformats.org/officeDocument/2006/relationships/tags" Target="../tags/tag31.xml"/><Relationship Id="rId30" Type="http://schemas.openxmlformats.org/officeDocument/2006/relationships/tags" Target="../tags/tag30.xml"/><Relationship Id="rId3" Type="http://schemas.openxmlformats.org/officeDocument/2006/relationships/tags" Target="../tags/tag3.xml"/><Relationship Id="rId29" Type="http://schemas.openxmlformats.org/officeDocument/2006/relationships/tags" Target="../tags/tag29.xml"/><Relationship Id="rId28" Type="http://schemas.openxmlformats.org/officeDocument/2006/relationships/tags" Target="../tags/tag28.xml"/><Relationship Id="rId27" Type="http://schemas.openxmlformats.org/officeDocument/2006/relationships/tags" Target="../tags/tag27.xml"/><Relationship Id="rId26" Type="http://schemas.openxmlformats.org/officeDocument/2006/relationships/tags" Target="../tags/tag26.xml"/><Relationship Id="rId25" Type="http://schemas.openxmlformats.org/officeDocument/2006/relationships/tags" Target="../tags/tag25.xml"/><Relationship Id="rId24" Type="http://schemas.openxmlformats.org/officeDocument/2006/relationships/tags" Target="../tags/tag24.xml"/><Relationship Id="rId23" Type="http://schemas.openxmlformats.org/officeDocument/2006/relationships/tags" Target="../tags/tag23.xml"/><Relationship Id="rId22" Type="http://schemas.openxmlformats.org/officeDocument/2006/relationships/tags" Target="../tags/tag22.xml"/><Relationship Id="rId21" Type="http://schemas.openxmlformats.org/officeDocument/2006/relationships/tags" Target="../tags/tag21.xml"/><Relationship Id="rId20" Type="http://schemas.openxmlformats.org/officeDocument/2006/relationships/tags" Target="../tags/tag20.xml"/><Relationship Id="rId2" Type="http://schemas.openxmlformats.org/officeDocument/2006/relationships/tags" Target="../tags/tag2.xml"/><Relationship Id="rId19" Type="http://schemas.openxmlformats.org/officeDocument/2006/relationships/tags" Target="../tags/tag19.xml"/><Relationship Id="rId18" Type="http://schemas.openxmlformats.org/officeDocument/2006/relationships/tags" Target="../tags/tag18.xml"/><Relationship Id="rId17" Type="http://schemas.openxmlformats.org/officeDocument/2006/relationships/tags" Target="../tags/tag17.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3" Type="http://schemas.openxmlformats.org/officeDocument/2006/relationships/slideLayout" Target="../slideLayouts/slideLayout5.xml"/><Relationship Id="rId132" Type="http://schemas.openxmlformats.org/officeDocument/2006/relationships/tags" Target="../tags/tag132.xml"/><Relationship Id="rId131" Type="http://schemas.openxmlformats.org/officeDocument/2006/relationships/tags" Target="../tags/tag131.xml"/><Relationship Id="rId130" Type="http://schemas.openxmlformats.org/officeDocument/2006/relationships/tags" Target="../tags/tag130.xml"/><Relationship Id="rId13" Type="http://schemas.openxmlformats.org/officeDocument/2006/relationships/tags" Target="../tags/tag13.xml"/><Relationship Id="rId129" Type="http://schemas.openxmlformats.org/officeDocument/2006/relationships/tags" Target="../tags/tag129.xml"/><Relationship Id="rId128" Type="http://schemas.openxmlformats.org/officeDocument/2006/relationships/tags" Target="../tags/tag128.xml"/><Relationship Id="rId127" Type="http://schemas.openxmlformats.org/officeDocument/2006/relationships/tags" Target="../tags/tag127.xml"/><Relationship Id="rId126" Type="http://schemas.openxmlformats.org/officeDocument/2006/relationships/tags" Target="../tags/tag126.xml"/><Relationship Id="rId125" Type="http://schemas.openxmlformats.org/officeDocument/2006/relationships/tags" Target="../tags/tag125.xml"/><Relationship Id="rId124" Type="http://schemas.openxmlformats.org/officeDocument/2006/relationships/tags" Target="../tags/tag124.xml"/><Relationship Id="rId123" Type="http://schemas.openxmlformats.org/officeDocument/2006/relationships/tags" Target="../tags/tag123.xml"/><Relationship Id="rId122" Type="http://schemas.openxmlformats.org/officeDocument/2006/relationships/tags" Target="../tags/tag122.xml"/><Relationship Id="rId121" Type="http://schemas.openxmlformats.org/officeDocument/2006/relationships/tags" Target="../tags/tag121.xml"/><Relationship Id="rId120" Type="http://schemas.openxmlformats.org/officeDocument/2006/relationships/tags" Target="../tags/tag120.xml"/><Relationship Id="rId12" Type="http://schemas.openxmlformats.org/officeDocument/2006/relationships/tags" Target="../tags/tag12.xml"/><Relationship Id="rId119" Type="http://schemas.openxmlformats.org/officeDocument/2006/relationships/tags" Target="../tags/tag119.xml"/><Relationship Id="rId118" Type="http://schemas.openxmlformats.org/officeDocument/2006/relationships/tags" Target="../tags/tag118.xml"/><Relationship Id="rId117" Type="http://schemas.openxmlformats.org/officeDocument/2006/relationships/tags" Target="../tags/tag117.xml"/><Relationship Id="rId116" Type="http://schemas.openxmlformats.org/officeDocument/2006/relationships/tags" Target="../tags/tag116.xml"/><Relationship Id="rId115" Type="http://schemas.openxmlformats.org/officeDocument/2006/relationships/tags" Target="../tags/tag115.xml"/><Relationship Id="rId114" Type="http://schemas.openxmlformats.org/officeDocument/2006/relationships/tags" Target="../tags/tag114.xml"/><Relationship Id="rId113" Type="http://schemas.openxmlformats.org/officeDocument/2006/relationships/tags" Target="../tags/tag113.xml"/><Relationship Id="rId112" Type="http://schemas.openxmlformats.org/officeDocument/2006/relationships/tags" Target="../tags/tag112.xml"/><Relationship Id="rId111" Type="http://schemas.openxmlformats.org/officeDocument/2006/relationships/tags" Target="../tags/tag111.xml"/><Relationship Id="rId110" Type="http://schemas.openxmlformats.org/officeDocument/2006/relationships/tags" Target="../tags/tag110.xml"/><Relationship Id="rId11" Type="http://schemas.openxmlformats.org/officeDocument/2006/relationships/tags" Target="../tags/tag11.xml"/><Relationship Id="rId109" Type="http://schemas.openxmlformats.org/officeDocument/2006/relationships/tags" Target="../tags/tag109.xml"/><Relationship Id="rId108" Type="http://schemas.openxmlformats.org/officeDocument/2006/relationships/tags" Target="../tags/tag108.xml"/><Relationship Id="rId107" Type="http://schemas.openxmlformats.org/officeDocument/2006/relationships/tags" Target="../tags/tag107.xml"/><Relationship Id="rId106" Type="http://schemas.openxmlformats.org/officeDocument/2006/relationships/tags" Target="../tags/tag106.xml"/><Relationship Id="rId105" Type="http://schemas.openxmlformats.org/officeDocument/2006/relationships/tags" Target="../tags/tag105.xml"/><Relationship Id="rId104" Type="http://schemas.openxmlformats.org/officeDocument/2006/relationships/tags" Target="../tags/tag104.xml"/><Relationship Id="rId103" Type="http://schemas.openxmlformats.org/officeDocument/2006/relationships/tags" Target="../tags/tag103.xml"/><Relationship Id="rId102" Type="http://schemas.openxmlformats.org/officeDocument/2006/relationships/tags" Target="../tags/tag102.xml"/><Relationship Id="rId101" Type="http://schemas.openxmlformats.org/officeDocument/2006/relationships/tags" Target="../tags/tag101.xml"/><Relationship Id="rId100" Type="http://schemas.openxmlformats.org/officeDocument/2006/relationships/tags" Target="../tags/tag100.xml"/><Relationship Id="rId10" Type="http://schemas.openxmlformats.org/officeDocument/2006/relationships/tags" Target="../tags/tag10.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84213" y="453863"/>
            <a:ext cx="655680" cy="655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b="1" dirty="0">
                <a:ea typeface="Calibri" panose="020F0502020204030204" pitchFamily="34" charset="0"/>
              </a:rPr>
              <a:t>LOGO</a:t>
            </a:r>
            <a:endParaRPr lang="zh-CN" altLang="en-US" sz="1050" b="1" dirty="0">
              <a:ea typeface="Calibri" panose="020F0502020204030204" pitchFamily="34" charset="0"/>
            </a:endParaRPr>
          </a:p>
        </p:txBody>
      </p:sp>
      <p:sp>
        <p:nvSpPr>
          <p:cNvPr id="12" name="文本框 11"/>
          <p:cNvSpPr txBox="1"/>
          <p:nvPr/>
        </p:nvSpPr>
        <p:spPr>
          <a:xfrm>
            <a:off x="600561" y="2165417"/>
            <a:ext cx="5460365" cy="650875"/>
          </a:xfrm>
          <a:prstGeom prst="rect">
            <a:avLst/>
          </a:prstGeom>
          <a:noFill/>
        </p:spPr>
        <p:txBody>
          <a:bodyPr wrap="none" rtlCol="0">
            <a:spAutoFit/>
          </a:bodyPr>
          <a:lstStyle/>
          <a:p>
            <a:pPr>
              <a:lnSpc>
                <a:spcPct val="130000"/>
              </a:lnSpc>
            </a:pPr>
            <a:r>
              <a:rPr lang="en-US" altLang="zh-CN" sz="2800" b="1" dirty="0">
                <a:solidFill>
                  <a:schemeClr val="tx2"/>
                </a:solidFill>
                <a:ea typeface="Calibri" panose="020F0502020204030204" pitchFamily="34" charset="0"/>
                <a:cs typeface="Calibri" panose="020F0502020204030204" pitchFamily="34" charset="0"/>
                <a:sym typeface="+mn-lt"/>
              </a:rPr>
              <a:t>Shopper Hiring A/B Testing Solution</a:t>
            </a:r>
            <a:endParaRPr lang="en-US" altLang="zh-CN" sz="2800" b="1" dirty="0">
              <a:solidFill>
                <a:schemeClr val="tx2"/>
              </a:solidFill>
              <a:ea typeface="Calibri" panose="020F0502020204030204" pitchFamily="34" charset="0"/>
              <a:cs typeface="Calibri" panose="020F0502020204030204" pitchFamily="34" charset="0"/>
              <a:sym typeface="+mn-lt"/>
            </a:endParaRPr>
          </a:p>
        </p:txBody>
      </p:sp>
      <p:sp>
        <p:nvSpPr>
          <p:cNvPr id="13" name="文本框 12"/>
          <p:cNvSpPr txBox="1"/>
          <p:nvPr/>
        </p:nvSpPr>
        <p:spPr>
          <a:xfrm>
            <a:off x="580075" y="1444313"/>
            <a:ext cx="2038350" cy="970915"/>
          </a:xfrm>
          <a:prstGeom prst="rect">
            <a:avLst/>
          </a:prstGeom>
          <a:noFill/>
        </p:spPr>
        <p:txBody>
          <a:bodyPr wrap="none" rtlCol="0">
            <a:spAutoFit/>
          </a:bodyPr>
          <a:lstStyle/>
          <a:p>
            <a:pPr>
              <a:lnSpc>
                <a:spcPct val="130000"/>
              </a:lnSpc>
            </a:pPr>
            <a:r>
              <a:rPr lang="en-US" altLang="zh-CN" sz="4400" b="1" spc="-150" dirty="0">
                <a:solidFill>
                  <a:schemeClr val="tx2"/>
                </a:solidFill>
                <a:ea typeface="Calibri" panose="020F0502020204030204" pitchFamily="34" charset="0"/>
                <a:cs typeface="Calibri" panose="020F0502020204030204" pitchFamily="34" charset="0"/>
                <a:sym typeface="+mn-lt"/>
              </a:rPr>
              <a:t>Instacart</a:t>
            </a:r>
            <a:endParaRPr lang="en-US" sz="4400" b="1" spc="-150" dirty="0">
              <a:solidFill>
                <a:schemeClr val="tx2"/>
              </a:solidFill>
              <a:ea typeface="Calibri" panose="020F0502020204030204" pitchFamily="34" charset="0"/>
              <a:cs typeface="Calibri" panose="020F0502020204030204" pitchFamily="34" charset="0"/>
              <a:sym typeface="+mn-lt"/>
            </a:endParaRPr>
          </a:p>
        </p:txBody>
      </p:sp>
      <p:sp>
        <p:nvSpPr>
          <p:cNvPr id="14" name="Line 21"/>
          <p:cNvSpPr>
            <a:spLocks noChangeShapeType="1"/>
          </p:cNvSpPr>
          <p:nvPr/>
        </p:nvSpPr>
        <p:spPr bwMode="auto">
          <a:xfrm>
            <a:off x="705813" y="3161365"/>
            <a:ext cx="385163" cy="0"/>
          </a:xfrm>
          <a:prstGeom prst="line">
            <a:avLst/>
          </a:prstGeom>
          <a:noFill/>
          <a:ln w="127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lnSpc>
                <a:spcPct val="130000"/>
              </a:lnSpc>
              <a:spcBef>
                <a:spcPct val="0"/>
              </a:spcBef>
              <a:spcAft>
                <a:spcPct val="0"/>
              </a:spcAft>
            </a:pPr>
            <a:endParaRPr lang="zh-CN" altLang="en-US" sz="1800">
              <a:ln>
                <a:solidFill>
                  <a:schemeClr val="tx1">
                    <a:lumMod val="75000"/>
                    <a:lumOff val="25000"/>
                  </a:schemeClr>
                </a:solidFill>
              </a:ln>
              <a:solidFill>
                <a:schemeClr val="tx2"/>
              </a:solidFill>
              <a:ea typeface="Calibri" panose="020F0502020204030204" pitchFamily="34" charset="0"/>
              <a:cs typeface="Calibri" panose="020F0502020204030204" pitchFamily="34" charset="0"/>
              <a:sym typeface="+mn-lt"/>
            </a:endParaRPr>
          </a:p>
        </p:txBody>
      </p:sp>
      <p:sp>
        <p:nvSpPr>
          <p:cNvPr id="15" name="Rectangle 20"/>
          <p:cNvSpPr>
            <a:spLocks noChangeArrowheads="1"/>
          </p:cNvSpPr>
          <p:nvPr/>
        </p:nvSpPr>
        <p:spPr bwMode="auto">
          <a:xfrm>
            <a:off x="706043" y="3297106"/>
            <a:ext cx="3898977" cy="23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fontAlgn="base">
              <a:lnSpc>
                <a:spcPct val="130000"/>
              </a:lnSpc>
              <a:spcBef>
                <a:spcPct val="0"/>
              </a:spcBef>
              <a:spcAft>
                <a:spcPct val="0"/>
              </a:spcAft>
              <a:buFont typeface="Arial" panose="020B0604020202020204" pitchFamily="34" charset="0"/>
              <a:buNone/>
            </a:pPr>
            <a:r>
              <a:rPr lang="en-US" altLang="zh-CN" sz="1200" dirty="0">
                <a:ea typeface="Calibri" panose="020F0502020204030204" pitchFamily="34" charset="0"/>
                <a:cs typeface="Calibri" panose="020F0502020204030204" pitchFamily="34" charset="0"/>
                <a:sym typeface="+mn-lt"/>
              </a:rPr>
              <a:t>Zixuan Huang</a:t>
            </a:r>
            <a:endParaRPr lang="zh-CN" altLang="en-US" sz="1200" spc="300" dirty="0">
              <a:ea typeface="Calibri" panose="020F0502020204030204" pitchFamily="34" charset="0"/>
              <a:cs typeface="Calibri" panose="020F0502020204030204" pitchFamily="34" charset="0"/>
              <a:sym typeface="+mn-lt"/>
            </a:endParaRPr>
          </a:p>
        </p:txBody>
      </p:sp>
      <p:pic>
        <p:nvPicPr>
          <p:cNvPr id="101" name="Picture 100"/>
          <p:cNvPicPr/>
          <p:nvPr/>
        </p:nvPicPr>
        <p:blipFill>
          <a:blip r:embed="rId1"/>
          <a:stretch>
            <a:fillRect/>
          </a:stretch>
        </p:blipFill>
        <p:spPr>
          <a:xfrm>
            <a:off x="618490" y="79375"/>
            <a:ext cx="2277110" cy="1661795"/>
          </a:xfrm>
          <a:prstGeom prst="rect">
            <a:avLst/>
          </a:prstGeom>
          <a:noFill/>
          <a:ln w="9525">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nip Diagonal Corner Rectangle 41"/>
          <p:cNvSpPr/>
          <p:nvPr/>
        </p:nvSpPr>
        <p:spPr>
          <a:xfrm>
            <a:off x="4902200" y="1302385"/>
            <a:ext cx="3479800" cy="923290"/>
          </a:xfrm>
          <a:prstGeom prst="snip2DiagRect">
            <a:avLst/>
          </a:prstGeom>
          <a:solidFill>
            <a:schemeClr val="bg1">
              <a:lumMod val="9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en-US"/>
          </a:p>
        </p:txBody>
      </p:sp>
      <p:sp>
        <p:nvSpPr>
          <p:cNvPr id="28" name="Snip Diagonal Corner Rectangle 27"/>
          <p:cNvSpPr/>
          <p:nvPr/>
        </p:nvSpPr>
        <p:spPr>
          <a:xfrm>
            <a:off x="544195" y="1302385"/>
            <a:ext cx="3479800" cy="923290"/>
          </a:xfrm>
          <a:prstGeom prst="snip2DiagRect">
            <a:avLst/>
          </a:prstGeom>
          <a:solidFill>
            <a:schemeClr val="bg1">
              <a:lumMod val="95000"/>
            </a:schemeClr>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p>
            <a:pPr algn="ctr"/>
            <a:endParaRPr lang="en-US"/>
          </a:p>
        </p:txBody>
      </p:sp>
      <p:sp>
        <p:nvSpPr>
          <p:cNvPr id="2" name="Rectangle 93"/>
          <p:cNvSpPr>
            <a:spLocks noChangeArrowheads="1"/>
          </p:cNvSpPr>
          <p:nvPr/>
        </p:nvSpPr>
        <p:spPr bwMode="auto">
          <a:xfrm>
            <a:off x="5764043" y="1313800"/>
            <a:ext cx="1430020" cy="511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r>
              <a:rPr lang="en-US" altLang="zh-CN" sz="1400" b="1" dirty="0">
                <a:solidFill>
                  <a:srgbClr val="E878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Treatment Group</a:t>
            </a:r>
            <a:r>
              <a:rPr lang="zh-CN" altLang="en-US" sz="1400" b="1" dirty="0">
                <a:solidFill>
                  <a:srgbClr val="E878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endParaRPr lang="zh-CN" altLang="en-US" sz="1400" b="1" dirty="0">
              <a:solidFill>
                <a:srgbClr val="E878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 name="TextBox 94"/>
          <p:cNvSpPr txBox="1">
            <a:spLocks noChangeArrowheads="1"/>
          </p:cNvSpPr>
          <p:nvPr/>
        </p:nvSpPr>
        <p:spPr bwMode="auto">
          <a:xfrm>
            <a:off x="5764043" y="1634568"/>
            <a:ext cx="2799260" cy="519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lnSpc>
                <a:spcPct val="150000"/>
              </a:lnSpc>
            </a:pP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dvance background check </a:t>
            </a:r>
            <a:endPar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lnSpc>
                <a:spcPct val="150000"/>
              </a:lnSpc>
            </a:pPr>
            <a:r>
              <a:rPr lang="en-US" altLang="zh-CN" sz="9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pplicants: 4958</a:t>
            </a:r>
            <a:endParaRPr lang="en-US" altLang="zh-CN" sz="9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cxnSp>
        <p:nvCxnSpPr>
          <p:cNvPr id="4" name="直接连接符 3"/>
          <p:cNvCxnSpPr/>
          <p:nvPr/>
        </p:nvCxnSpPr>
        <p:spPr>
          <a:xfrm>
            <a:off x="5856147" y="1643016"/>
            <a:ext cx="216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Rectangle 93"/>
          <p:cNvSpPr>
            <a:spLocks noChangeArrowheads="1"/>
          </p:cNvSpPr>
          <p:nvPr/>
        </p:nvSpPr>
        <p:spPr bwMode="auto">
          <a:xfrm>
            <a:off x="1429876" y="1313800"/>
            <a:ext cx="1209675" cy="511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r>
              <a:rPr lang="en-US" altLang="zh-CN" sz="1400" b="1" dirty="0">
                <a:solidFill>
                  <a:srgbClr val="00B05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ontrol Group</a:t>
            </a:r>
            <a:r>
              <a:rPr lang="zh-CN" altLang="en-US" sz="1400" b="1" dirty="0">
                <a:solidFill>
                  <a:srgbClr val="00B05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endParaRPr lang="zh-CN" altLang="en-US" sz="1400" b="1" dirty="0">
              <a:solidFill>
                <a:srgbClr val="00B05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6" name="TextBox 94"/>
          <p:cNvSpPr txBox="1">
            <a:spLocks noChangeArrowheads="1"/>
          </p:cNvSpPr>
          <p:nvPr/>
        </p:nvSpPr>
        <p:spPr bwMode="auto">
          <a:xfrm>
            <a:off x="1429876" y="1634568"/>
            <a:ext cx="2799260" cy="519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lnSpc>
                <a:spcPct val="150000"/>
              </a:lnSpc>
            </a:pP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Keep it as it is</a:t>
            </a:r>
            <a:endPar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lnSpc>
                <a:spcPct val="150000"/>
              </a:lnSpc>
            </a:pPr>
            <a:r>
              <a:rPr lang="en-US" altLang="zh-CN" sz="9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pplicants: 10024</a:t>
            </a:r>
            <a:endParaRPr lang="en-US" altLang="zh-CN" sz="9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cxnSp>
        <p:nvCxnSpPr>
          <p:cNvPr id="7" name="直接连接符 6"/>
          <p:cNvCxnSpPr/>
          <p:nvPr/>
        </p:nvCxnSpPr>
        <p:spPr>
          <a:xfrm>
            <a:off x="1521980" y="1643016"/>
            <a:ext cx="216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694962" y="1411443"/>
            <a:ext cx="573881" cy="573881"/>
            <a:chOff x="1750089" y="1478535"/>
            <a:chExt cx="573881" cy="573881"/>
          </a:xfrm>
        </p:grpSpPr>
        <p:sp>
          <p:nvSpPr>
            <p:cNvPr id="9" name="Oval 30"/>
            <p:cNvSpPr/>
            <p:nvPr/>
          </p:nvSpPr>
          <p:spPr bwMode="auto">
            <a:xfrm>
              <a:off x="1750089" y="1478535"/>
              <a:ext cx="573881" cy="57388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505"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grpSp>
          <p:nvGrpSpPr>
            <p:cNvPr id="10" name="Group 47"/>
            <p:cNvGrpSpPr/>
            <p:nvPr/>
          </p:nvGrpSpPr>
          <p:grpSpPr>
            <a:xfrm>
              <a:off x="1911122" y="1593669"/>
              <a:ext cx="251816" cy="368186"/>
              <a:chOff x="527333" y="1217552"/>
              <a:chExt cx="175409" cy="256405"/>
            </a:xfrm>
            <a:solidFill>
              <a:schemeClr val="bg1"/>
            </a:solidFill>
          </p:grpSpPr>
          <p:sp>
            <p:nvSpPr>
              <p:cNvPr id="11" name="Freeform 79"/>
              <p:cNvSpPr>
                <a:spLocks noEditPoints="1"/>
              </p:cNvSpPr>
              <p:nvPr/>
            </p:nvSpPr>
            <p:spPr bwMode="auto">
              <a:xfrm>
                <a:off x="527333" y="1217552"/>
                <a:ext cx="175409" cy="256405"/>
              </a:xfrm>
              <a:custGeom>
                <a:avLst/>
                <a:gdLst>
                  <a:gd name="T0" fmla="*/ 80 w 160"/>
                  <a:gd name="T1" fmla="*/ 0 h 234"/>
                  <a:gd name="T2" fmla="*/ 0 w 160"/>
                  <a:gd name="T3" fmla="*/ 81 h 234"/>
                  <a:gd name="T4" fmla="*/ 36 w 160"/>
                  <a:gd name="T5" fmla="*/ 169 h 234"/>
                  <a:gd name="T6" fmla="*/ 80 w 160"/>
                  <a:gd name="T7" fmla="*/ 234 h 234"/>
                  <a:gd name="T8" fmla="*/ 123 w 160"/>
                  <a:gd name="T9" fmla="*/ 169 h 234"/>
                  <a:gd name="T10" fmla="*/ 160 w 160"/>
                  <a:gd name="T11" fmla="*/ 81 h 234"/>
                  <a:gd name="T12" fmla="*/ 80 w 160"/>
                  <a:gd name="T13" fmla="*/ 0 h 234"/>
                  <a:gd name="T14" fmla="*/ 99 w 160"/>
                  <a:gd name="T15" fmla="*/ 199 h 234"/>
                  <a:gd name="T16" fmla="*/ 63 w 160"/>
                  <a:gd name="T17" fmla="*/ 203 h 234"/>
                  <a:gd name="T18" fmla="*/ 58 w 160"/>
                  <a:gd name="T19" fmla="*/ 190 h 234"/>
                  <a:gd name="T20" fmla="*/ 58 w 160"/>
                  <a:gd name="T21" fmla="*/ 189 h 234"/>
                  <a:gd name="T22" fmla="*/ 103 w 160"/>
                  <a:gd name="T23" fmla="*/ 184 h 234"/>
                  <a:gd name="T24" fmla="*/ 101 w 160"/>
                  <a:gd name="T25" fmla="*/ 190 h 234"/>
                  <a:gd name="T26" fmla="*/ 99 w 160"/>
                  <a:gd name="T27" fmla="*/ 199 h 234"/>
                  <a:gd name="T28" fmla="*/ 56 w 160"/>
                  <a:gd name="T29" fmla="*/ 182 h 234"/>
                  <a:gd name="T30" fmla="*/ 52 w 160"/>
                  <a:gd name="T31" fmla="*/ 168 h 234"/>
                  <a:gd name="T32" fmla="*/ 108 w 160"/>
                  <a:gd name="T33" fmla="*/ 168 h 234"/>
                  <a:gd name="T34" fmla="*/ 106 w 160"/>
                  <a:gd name="T35" fmla="*/ 176 h 234"/>
                  <a:gd name="T36" fmla="*/ 56 w 160"/>
                  <a:gd name="T37" fmla="*/ 182 h 234"/>
                  <a:gd name="T38" fmla="*/ 80 w 160"/>
                  <a:gd name="T39" fmla="*/ 220 h 234"/>
                  <a:gd name="T40" fmla="*/ 65 w 160"/>
                  <a:gd name="T41" fmla="*/ 210 h 234"/>
                  <a:gd name="T42" fmla="*/ 96 w 160"/>
                  <a:gd name="T43" fmla="*/ 207 h 234"/>
                  <a:gd name="T44" fmla="*/ 80 w 160"/>
                  <a:gd name="T45" fmla="*/ 220 h 234"/>
                  <a:gd name="T46" fmla="*/ 114 w 160"/>
                  <a:gd name="T47" fmla="*/ 154 h 234"/>
                  <a:gd name="T48" fmla="*/ 46 w 160"/>
                  <a:gd name="T49" fmla="*/ 154 h 234"/>
                  <a:gd name="T50" fmla="*/ 34 w 160"/>
                  <a:gd name="T51" fmla="*/ 130 h 234"/>
                  <a:gd name="T52" fmla="*/ 14 w 160"/>
                  <a:gd name="T53" fmla="*/ 81 h 234"/>
                  <a:gd name="T54" fmla="*/ 80 w 160"/>
                  <a:gd name="T55" fmla="*/ 15 h 234"/>
                  <a:gd name="T56" fmla="*/ 146 w 160"/>
                  <a:gd name="T57" fmla="*/ 81 h 234"/>
                  <a:gd name="T58" fmla="*/ 126 w 160"/>
                  <a:gd name="T59" fmla="*/ 130 h 234"/>
                  <a:gd name="T60" fmla="*/ 114 w 160"/>
                  <a:gd name="T61" fmla="*/ 15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234">
                    <a:moveTo>
                      <a:pt x="80" y="0"/>
                    </a:moveTo>
                    <a:cubicBezTo>
                      <a:pt x="35" y="0"/>
                      <a:pt x="0" y="36"/>
                      <a:pt x="0" y="81"/>
                    </a:cubicBezTo>
                    <a:cubicBezTo>
                      <a:pt x="0" y="110"/>
                      <a:pt x="26" y="141"/>
                      <a:pt x="36" y="169"/>
                    </a:cubicBezTo>
                    <a:cubicBezTo>
                      <a:pt x="51" y="210"/>
                      <a:pt x="49" y="234"/>
                      <a:pt x="80" y="234"/>
                    </a:cubicBezTo>
                    <a:cubicBezTo>
                      <a:pt x="111" y="234"/>
                      <a:pt x="109" y="210"/>
                      <a:pt x="123" y="169"/>
                    </a:cubicBezTo>
                    <a:cubicBezTo>
                      <a:pt x="133" y="142"/>
                      <a:pt x="160" y="110"/>
                      <a:pt x="160" y="81"/>
                    </a:cubicBezTo>
                    <a:cubicBezTo>
                      <a:pt x="160" y="36"/>
                      <a:pt x="124" y="0"/>
                      <a:pt x="80" y="0"/>
                    </a:cubicBezTo>
                    <a:close/>
                    <a:moveTo>
                      <a:pt x="99" y="199"/>
                    </a:moveTo>
                    <a:cubicBezTo>
                      <a:pt x="63" y="203"/>
                      <a:pt x="63" y="203"/>
                      <a:pt x="63" y="203"/>
                    </a:cubicBezTo>
                    <a:cubicBezTo>
                      <a:pt x="61" y="200"/>
                      <a:pt x="60" y="195"/>
                      <a:pt x="58" y="190"/>
                    </a:cubicBezTo>
                    <a:cubicBezTo>
                      <a:pt x="58" y="190"/>
                      <a:pt x="58" y="189"/>
                      <a:pt x="58" y="189"/>
                    </a:cubicBezTo>
                    <a:cubicBezTo>
                      <a:pt x="103" y="184"/>
                      <a:pt x="103" y="184"/>
                      <a:pt x="103" y="184"/>
                    </a:cubicBezTo>
                    <a:cubicBezTo>
                      <a:pt x="103" y="186"/>
                      <a:pt x="102" y="188"/>
                      <a:pt x="101" y="190"/>
                    </a:cubicBezTo>
                    <a:cubicBezTo>
                      <a:pt x="100" y="193"/>
                      <a:pt x="100" y="196"/>
                      <a:pt x="99" y="199"/>
                    </a:cubicBezTo>
                    <a:close/>
                    <a:moveTo>
                      <a:pt x="56" y="182"/>
                    </a:moveTo>
                    <a:cubicBezTo>
                      <a:pt x="55" y="178"/>
                      <a:pt x="53" y="173"/>
                      <a:pt x="52" y="168"/>
                    </a:cubicBezTo>
                    <a:cubicBezTo>
                      <a:pt x="108" y="168"/>
                      <a:pt x="108" y="168"/>
                      <a:pt x="108" y="168"/>
                    </a:cubicBezTo>
                    <a:cubicBezTo>
                      <a:pt x="107" y="171"/>
                      <a:pt x="106" y="174"/>
                      <a:pt x="106" y="176"/>
                    </a:cubicBezTo>
                    <a:lnTo>
                      <a:pt x="56" y="182"/>
                    </a:lnTo>
                    <a:close/>
                    <a:moveTo>
                      <a:pt x="80" y="220"/>
                    </a:moveTo>
                    <a:cubicBezTo>
                      <a:pt x="72" y="220"/>
                      <a:pt x="69" y="219"/>
                      <a:pt x="65" y="210"/>
                    </a:cubicBezTo>
                    <a:cubicBezTo>
                      <a:pt x="96" y="207"/>
                      <a:pt x="96" y="207"/>
                      <a:pt x="96" y="207"/>
                    </a:cubicBezTo>
                    <a:cubicBezTo>
                      <a:pt x="92" y="219"/>
                      <a:pt x="88" y="220"/>
                      <a:pt x="80" y="220"/>
                    </a:cubicBezTo>
                    <a:close/>
                    <a:moveTo>
                      <a:pt x="114" y="154"/>
                    </a:moveTo>
                    <a:cubicBezTo>
                      <a:pt x="46" y="154"/>
                      <a:pt x="46" y="154"/>
                      <a:pt x="46" y="154"/>
                    </a:cubicBezTo>
                    <a:cubicBezTo>
                      <a:pt x="42" y="146"/>
                      <a:pt x="38" y="138"/>
                      <a:pt x="34" y="130"/>
                    </a:cubicBezTo>
                    <a:cubicBezTo>
                      <a:pt x="24" y="113"/>
                      <a:pt x="14" y="96"/>
                      <a:pt x="14" y="81"/>
                    </a:cubicBezTo>
                    <a:cubicBezTo>
                      <a:pt x="14" y="45"/>
                      <a:pt x="44" y="15"/>
                      <a:pt x="80" y="15"/>
                    </a:cubicBezTo>
                    <a:cubicBezTo>
                      <a:pt x="116" y="15"/>
                      <a:pt x="146" y="45"/>
                      <a:pt x="146" y="81"/>
                    </a:cubicBezTo>
                    <a:cubicBezTo>
                      <a:pt x="146" y="96"/>
                      <a:pt x="136" y="113"/>
                      <a:pt x="126" y="130"/>
                    </a:cubicBezTo>
                    <a:cubicBezTo>
                      <a:pt x="122" y="138"/>
                      <a:pt x="118" y="146"/>
                      <a:pt x="114" y="154"/>
                    </a:cubicBezTo>
                    <a:close/>
                  </a:path>
                </a:pathLst>
              </a:custGeom>
              <a:grpFill/>
              <a:ln>
                <a:noFill/>
              </a:ln>
            </p:spPr>
            <p:txBody>
              <a:bodyPr vert="horz" wrap="square" lIns="91440" tIns="45720" rIns="91440" bIns="45720" numCol="1" anchor="t" anchorCtr="0" compatLnSpc="1"/>
              <a:lstStyle/>
              <a:p>
                <a:endParaRPr lang="id-ID">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 name="Freeform 80"/>
              <p:cNvSpPr/>
              <p:nvPr/>
            </p:nvSpPr>
            <p:spPr bwMode="auto">
              <a:xfrm>
                <a:off x="566675" y="1258276"/>
                <a:ext cx="52762" cy="51373"/>
              </a:xfrm>
              <a:custGeom>
                <a:avLst/>
                <a:gdLst>
                  <a:gd name="T0" fmla="*/ 44 w 48"/>
                  <a:gd name="T1" fmla="*/ 0 h 47"/>
                  <a:gd name="T2" fmla="*/ 0 w 48"/>
                  <a:gd name="T3" fmla="*/ 44 h 47"/>
                  <a:gd name="T4" fmla="*/ 4 w 48"/>
                  <a:gd name="T5" fmla="*/ 47 h 47"/>
                  <a:gd name="T6" fmla="*/ 7 w 48"/>
                  <a:gd name="T7" fmla="*/ 44 h 47"/>
                  <a:gd name="T8" fmla="*/ 44 w 48"/>
                  <a:gd name="T9" fmla="*/ 7 h 47"/>
                  <a:gd name="T10" fmla="*/ 48 w 48"/>
                  <a:gd name="T11" fmla="*/ 4 h 47"/>
                  <a:gd name="T12" fmla="*/ 44 w 48"/>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8" h="47">
                    <a:moveTo>
                      <a:pt x="44" y="0"/>
                    </a:moveTo>
                    <a:cubicBezTo>
                      <a:pt x="20" y="0"/>
                      <a:pt x="0" y="20"/>
                      <a:pt x="0" y="44"/>
                    </a:cubicBezTo>
                    <a:cubicBezTo>
                      <a:pt x="0" y="46"/>
                      <a:pt x="2" y="47"/>
                      <a:pt x="4" y="47"/>
                    </a:cubicBezTo>
                    <a:cubicBezTo>
                      <a:pt x="6" y="47"/>
                      <a:pt x="7" y="46"/>
                      <a:pt x="7" y="44"/>
                    </a:cubicBezTo>
                    <a:cubicBezTo>
                      <a:pt x="7" y="24"/>
                      <a:pt x="24" y="7"/>
                      <a:pt x="44" y="7"/>
                    </a:cubicBezTo>
                    <a:cubicBezTo>
                      <a:pt x="46" y="7"/>
                      <a:pt x="48" y="6"/>
                      <a:pt x="48" y="4"/>
                    </a:cubicBezTo>
                    <a:cubicBezTo>
                      <a:pt x="48" y="2"/>
                      <a:pt x="46" y="0"/>
                      <a:pt x="44" y="0"/>
                    </a:cubicBezTo>
                    <a:close/>
                  </a:path>
                </a:pathLst>
              </a:custGeom>
              <a:grpFill/>
              <a:ln>
                <a:noFill/>
              </a:ln>
            </p:spPr>
            <p:txBody>
              <a:bodyPr vert="horz" wrap="square" lIns="91440" tIns="45720" rIns="91440" bIns="45720" numCol="1" anchor="t" anchorCtr="0" compatLnSpc="1"/>
              <a:lstStyle/>
              <a:p>
                <a:endParaRPr lang="id-ID">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grpSp>
      </p:grpSp>
      <p:grpSp>
        <p:nvGrpSpPr>
          <p:cNvPr id="13" name="组合 12"/>
          <p:cNvGrpSpPr/>
          <p:nvPr/>
        </p:nvGrpSpPr>
        <p:grpSpPr>
          <a:xfrm>
            <a:off x="5049918" y="1411732"/>
            <a:ext cx="573881" cy="573881"/>
            <a:chOff x="6726665" y="1478535"/>
            <a:chExt cx="573881" cy="573881"/>
          </a:xfrm>
        </p:grpSpPr>
        <p:sp>
          <p:nvSpPr>
            <p:cNvPr id="14" name="Oval 30"/>
            <p:cNvSpPr/>
            <p:nvPr/>
          </p:nvSpPr>
          <p:spPr bwMode="auto">
            <a:xfrm>
              <a:off x="6726665" y="1478535"/>
              <a:ext cx="573881" cy="57388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505"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 name="Freeform 429"/>
            <p:cNvSpPr>
              <a:spLocks noChangeArrowheads="1"/>
            </p:cNvSpPr>
            <p:nvPr/>
          </p:nvSpPr>
          <p:spPr bwMode="auto">
            <a:xfrm>
              <a:off x="6866909" y="1619794"/>
              <a:ext cx="293392" cy="291362"/>
            </a:xfrm>
            <a:custGeom>
              <a:avLst/>
              <a:gdLst>
                <a:gd name="T0" fmla="*/ 1162 w 1230"/>
                <a:gd name="T1" fmla="*/ 383 h 1221"/>
                <a:gd name="T2" fmla="*/ 1112 w 1230"/>
                <a:gd name="T3" fmla="*/ 433 h 1221"/>
                <a:gd name="T4" fmla="*/ 794 w 1230"/>
                <a:gd name="T5" fmla="*/ 116 h 1221"/>
                <a:gd name="T6" fmla="*/ 844 w 1230"/>
                <a:gd name="T7" fmla="*/ 57 h 1221"/>
                <a:gd name="T8" fmla="*/ 1061 w 1230"/>
                <a:gd name="T9" fmla="*/ 57 h 1221"/>
                <a:gd name="T10" fmla="*/ 1162 w 1230"/>
                <a:gd name="T11" fmla="*/ 166 h 1221"/>
                <a:gd name="T12" fmla="*/ 1162 w 1230"/>
                <a:gd name="T13" fmla="*/ 383 h 1221"/>
                <a:gd name="T14" fmla="*/ 418 w 1230"/>
                <a:gd name="T15" fmla="*/ 1019 h 1221"/>
                <a:gd name="T16" fmla="*/ 418 w 1230"/>
                <a:gd name="T17" fmla="*/ 1077 h 1221"/>
                <a:gd name="T18" fmla="*/ 468 w 1230"/>
                <a:gd name="T19" fmla="*/ 1077 h 1221"/>
                <a:gd name="T20" fmla="*/ 1061 w 1230"/>
                <a:gd name="T21" fmla="*/ 484 h 1221"/>
                <a:gd name="T22" fmla="*/ 1003 w 1230"/>
                <a:gd name="T23" fmla="*/ 433 h 1221"/>
                <a:gd name="T24" fmla="*/ 418 w 1230"/>
                <a:gd name="T25" fmla="*/ 1019 h 1221"/>
                <a:gd name="T26" fmla="*/ 150 w 1230"/>
                <a:gd name="T27" fmla="*/ 751 h 1221"/>
                <a:gd name="T28" fmla="*/ 150 w 1230"/>
                <a:gd name="T29" fmla="*/ 810 h 1221"/>
                <a:gd name="T30" fmla="*/ 209 w 1230"/>
                <a:gd name="T31" fmla="*/ 810 h 1221"/>
                <a:gd name="T32" fmla="*/ 794 w 1230"/>
                <a:gd name="T33" fmla="*/ 216 h 1221"/>
                <a:gd name="T34" fmla="*/ 735 w 1230"/>
                <a:gd name="T35" fmla="*/ 166 h 1221"/>
                <a:gd name="T36" fmla="*/ 150 w 1230"/>
                <a:gd name="T37" fmla="*/ 751 h 1221"/>
                <a:gd name="T38" fmla="*/ 844 w 1230"/>
                <a:gd name="T39" fmla="*/ 275 h 1221"/>
                <a:gd name="T40" fmla="*/ 259 w 1230"/>
                <a:gd name="T41" fmla="*/ 860 h 1221"/>
                <a:gd name="T42" fmla="*/ 259 w 1230"/>
                <a:gd name="T43" fmla="*/ 969 h 1221"/>
                <a:gd name="T44" fmla="*/ 367 w 1230"/>
                <a:gd name="T45" fmla="*/ 969 h 1221"/>
                <a:gd name="T46" fmla="*/ 953 w 1230"/>
                <a:gd name="T47" fmla="*/ 383 h 1221"/>
                <a:gd name="T48" fmla="*/ 844 w 1230"/>
                <a:gd name="T49" fmla="*/ 275 h 1221"/>
                <a:gd name="T50" fmla="*/ 367 w 1230"/>
                <a:gd name="T51" fmla="*/ 1127 h 1221"/>
                <a:gd name="T52" fmla="*/ 334 w 1230"/>
                <a:gd name="T53" fmla="*/ 1061 h 1221"/>
                <a:gd name="T54" fmla="*/ 309 w 1230"/>
                <a:gd name="T55" fmla="*/ 1061 h 1221"/>
                <a:gd name="T56" fmla="*/ 209 w 1230"/>
                <a:gd name="T57" fmla="*/ 1019 h 1221"/>
                <a:gd name="T58" fmla="*/ 158 w 1230"/>
                <a:gd name="T59" fmla="*/ 910 h 1221"/>
                <a:gd name="T60" fmla="*/ 167 w 1230"/>
                <a:gd name="T61" fmla="*/ 893 h 1221"/>
                <a:gd name="T62" fmla="*/ 100 w 1230"/>
                <a:gd name="T63" fmla="*/ 860 h 1221"/>
                <a:gd name="T64" fmla="*/ 92 w 1230"/>
                <a:gd name="T65" fmla="*/ 852 h 1221"/>
                <a:gd name="T66" fmla="*/ 0 w 1230"/>
                <a:gd name="T67" fmla="*/ 1220 h 1221"/>
                <a:gd name="T68" fmla="*/ 367 w 1230"/>
                <a:gd name="T69" fmla="*/ 1127 h 1221"/>
                <a:gd name="T70" fmla="*/ 367 w 1230"/>
                <a:gd name="T71" fmla="*/ 1127 h 1221"/>
                <a:gd name="T72" fmla="*/ 367 w 1230"/>
                <a:gd name="T73" fmla="*/ 1127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0" h="1221">
                  <a:moveTo>
                    <a:pt x="1162" y="383"/>
                  </a:moveTo>
                  <a:cubicBezTo>
                    <a:pt x="1112" y="433"/>
                    <a:pt x="1112" y="433"/>
                    <a:pt x="1112" y="433"/>
                  </a:cubicBezTo>
                  <a:cubicBezTo>
                    <a:pt x="794" y="116"/>
                    <a:pt x="794" y="116"/>
                    <a:pt x="794" y="116"/>
                  </a:cubicBezTo>
                  <a:cubicBezTo>
                    <a:pt x="844" y="57"/>
                    <a:pt x="844" y="57"/>
                    <a:pt x="844" y="57"/>
                  </a:cubicBezTo>
                  <a:cubicBezTo>
                    <a:pt x="903" y="0"/>
                    <a:pt x="1003" y="0"/>
                    <a:pt x="1061" y="57"/>
                  </a:cubicBezTo>
                  <a:cubicBezTo>
                    <a:pt x="1162" y="166"/>
                    <a:pt x="1162" y="166"/>
                    <a:pt x="1162" y="166"/>
                  </a:cubicBezTo>
                  <a:cubicBezTo>
                    <a:pt x="1229" y="225"/>
                    <a:pt x="1229" y="325"/>
                    <a:pt x="1162" y="383"/>
                  </a:cubicBezTo>
                  <a:close/>
                  <a:moveTo>
                    <a:pt x="418" y="1019"/>
                  </a:moveTo>
                  <a:cubicBezTo>
                    <a:pt x="401" y="1035"/>
                    <a:pt x="401" y="1061"/>
                    <a:pt x="418" y="1077"/>
                  </a:cubicBezTo>
                  <a:cubicBezTo>
                    <a:pt x="434" y="1086"/>
                    <a:pt x="459" y="1086"/>
                    <a:pt x="468" y="1077"/>
                  </a:cubicBezTo>
                  <a:cubicBezTo>
                    <a:pt x="1061" y="484"/>
                    <a:pt x="1061" y="484"/>
                    <a:pt x="1061" y="484"/>
                  </a:cubicBezTo>
                  <a:cubicBezTo>
                    <a:pt x="1003" y="433"/>
                    <a:pt x="1003" y="433"/>
                    <a:pt x="1003" y="433"/>
                  </a:cubicBezTo>
                  <a:lnTo>
                    <a:pt x="418" y="1019"/>
                  </a:lnTo>
                  <a:close/>
                  <a:moveTo>
                    <a:pt x="150" y="751"/>
                  </a:moveTo>
                  <a:cubicBezTo>
                    <a:pt x="133" y="768"/>
                    <a:pt x="133" y="793"/>
                    <a:pt x="150" y="810"/>
                  </a:cubicBezTo>
                  <a:cubicBezTo>
                    <a:pt x="167" y="818"/>
                    <a:pt x="192" y="818"/>
                    <a:pt x="209" y="810"/>
                  </a:cubicBezTo>
                  <a:cubicBezTo>
                    <a:pt x="794" y="216"/>
                    <a:pt x="794" y="216"/>
                    <a:pt x="794" y="216"/>
                  </a:cubicBezTo>
                  <a:cubicBezTo>
                    <a:pt x="735" y="166"/>
                    <a:pt x="735" y="166"/>
                    <a:pt x="735" y="166"/>
                  </a:cubicBezTo>
                  <a:lnTo>
                    <a:pt x="150" y="751"/>
                  </a:lnTo>
                  <a:close/>
                  <a:moveTo>
                    <a:pt x="844" y="275"/>
                  </a:moveTo>
                  <a:cubicBezTo>
                    <a:pt x="259" y="860"/>
                    <a:pt x="259" y="860"/>
                    <a:pt x="259" y="860"/>
                  </a:cubicBezTo>
                  <a:cubicBezTo>
                    <a:pt x="225" y="893"/>
                    <a:pt x="225" y="935"/>
                    <a:pt x="259" y="969"/>
                  </a:cubicBezTo>
                  <a:cubicBezTo>
                    <a:pt x="284" y="994"/>
                    <a:pt x="334" y="994"/>
                    <a:pt x="367" y="969"/>
                  </a:cubicBezTo>
                  <a:cubicBezTo>
                    <a:pt x="953" y="383"/>
                    <a:pt x="953" y="383"/>
                    <a:pt x="953" y="383"/>
                  </a:cubicBezTo>
                  <a:lnTo>
                    <a:pt x="844" y="275"/>
                  </a:lnTo>
                  <a:close/>
                  <a:moveTo>
                    <a:pt x="367" y="1127"/>
                  </a:moveTo>
                  <a:cubicBezTo>
                    <a:pt x="351" y="1111"/>
                    <a:pt x="343" y="1086"/>
                    <a:pt x="334" y="1061"/>
                  </a:cubicBezTo>
                  <a:cubicBezTo>
                    <a:pt x="326" y="1061"/>
                    <a:pt x="317" y="1061"/>
                    <a:pt x="309" y="1061"/>
                  </a:cubicBezTo>
                  <a:cubicBezTo>
                    <a:pt x="276" y="1061"/>
                    <a:pt x="234" y="1052"/>
                    <a:pt x="209" y="1019"/>
                  </a:cubicBezTo>
                  <a:cubicBezTo>
                    <a:pt x="175" y="994"/>
                    <a:pt x="158" y="952"/>
                    <a:pt x="158" y="910"/>
                  </a:cubicBezTo>
                  <a:cubicBezTo>
                    <a:pt x="158" y="910"/>
                    <a:pt x="158" y="902"/>
                    <a:pt x="167" y="893"/>
                  </a:cubicBezTo>
                  <a:cubicBezTo>
                    <a:pt x="142" y="885"/>
                    <a:pt x="117" y="877"/>
                    <a:pt x="100" y="860"/>
                  </a:cubicBezTo>
                  <a:lnTo>
                    <a:pt x="92" y="852"/>
                  </a:lnTo>
                  <a:cubicBezTo>
                    <a:pt x="0" y="1220"/>
                    <a:pt x="0" y="1220"/>
                    <a:pt x="0" y="1220"/>
                  </a:cubicBezTo>
                  <a:cubicBezTo>
                    <a:pt x="367" y="1127"/>
                    <a:pt x="367" y="1127"/>
                    <a:pt x="367" y="1127"/>
                  </a:cubicBezTo>
                  <a:close/>
                  <a:moveTo>
                    <a:pt x="367" y="1127"/>
                  </a:moveTo>
                  <a:lnTo>
                    <a:pt x="367" y="1127"/>
                  </a:lnTo>
                  <a:close/>
                </a:path>
              </a:pathLst>
            </a:custGeom>
            <a:solidFill>
              <a:schemeClr val="bg1"/>
            </a:solidFill>
            <a:ln>
              <a:noFill/>
            </a:ln>
            <a:effectLst/>
          </p:spPr>
          <p:txBody>
            <a:bodyPr wrap="none" lIns="45719" tIns="22859" rIns="45719" bIns="22859" anchor="ctr"/>
            <a:lstStyle/>
            <a:p>
              <a:pPr>
                <a:defRPr/>
              </a:pPr>
              <a:endParaRPr lang="en-US" sz="505"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grpSp>
      <p:sp>
        <p:nvSpPr>
          <p:cNvPr id="68" name="Rectangle 93"/>
          <p:cNvSpPr>
            <a:spLocks noChangeArrowheads="1"/>
          </p:cNvSpPr>
          <p:nvPr/>
        </p:nvSpPr>
        <p:spPr bwMode="auto">
          <a:xfrm>
            <a:off x="448448" y="202115"/>
            <a:ext cx="5304155" cy="573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r>
              <a:rPr lang="en-US" altLang="zh-CN" sz="1600" b="1" dirty="0">
                <a:solidFill>
                  <a:schemeClr val="tx2"/>
                </a:solidFill>
                <a:latin typeface="Calibri" panose="020F0502020204030204" pitchFamily="34" charset="0"/>
                <a:ea typeface="Calibri" panose="020F0502020204030204" pitchFamily="34" charset="0"/>
                <a:sym typeface="Calibri" panose="020F0502020204030204" pitchFamily="34" charset="0"/>
              </a:rPr>
              <a:t>Strategy: Initiating background check earlier in hiring process</a:t>
            </a:r>
            <a:r>
              <a:rPr lang="zh-CN" altLang="en-US" sz="1600" b="1" dirty="0">
                <a:solidFill>
                  <a:schemeClr val="tx2"/>
                </a:solidFill>
                <a:latin typeface="Calibri" panose="020F0502020204030204" pitchFamily="34" charset="0"/>
                <a:ea typeface="Calibri" panose="020F0502020204030204" pitchFamily="34" charset="0"/>
                <a:sym typeface="Calibri" panose="020F0502020204030204" pitchFamily="34" charset="0"/>
              </a:rPr>
              <a:t>
</a:t>
            </a:r>
            <a:endParaRPr lang="en-US" altLang="zh-CN" sz="1600" b="1" dirty="0">
              <a:solidFill>
                <a:schemeClr val="tx2"/>
              </a:solidFill>
              <a:latin typeface="Calibri" panose="020F0502020204030204" pitchFamily="34" charset="0"/>
              <a:ea typeface="Calibri" panose="020F0502020204030204" pitchFamily="34" charset="0"/>
              <a:sym typeface="Calibri" panose="020F0502020204030204" pitchFamily="34" charset="0"/>
            </a:endParaRPr>
          </a:p>
        </p:txBody>
      </p:sp>
      <p:sp>
        <p:nvSpPr>
          <p:cNvPr id="69" name="TextBox 94"/>
          <p:cNvSpPr txBox="1">
            <a:spLocks noChangeArrowheads="1"/>
          </p:cNvSpPr>
          <p:nvPr/>
        </p:nvSpPr>
        <p:spPr bwMode="auto">
          <a:xfrm>
            <a:off x="448448" y="424809"/>
            <a:ext cx="2974462" cy="31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lnSpc>
                <a:spcPct val="150000"/>
              </a:lnSpc>
            </a:pPr>
            <a:r>
              <a:rPr lang="en-US" altLang="zh-CN" sz="1000" dirty="0">
                <a:latin typeface="Calibri" panose="020F0502020204030204" pitchFamily="34" charset="0"/>
                <a:ea typeface="Calibri" panose="020F0502020204030204" pitchFamily="34" charset="0"/>
                <a:sym typeface="Calibri" panose="020F0502020204030204" pitchFamily="34" charset="0"/>
              </a:rPr>
              <a:t>Goal: Improve </a:t>
            </a:r>
            <a:r>
              <a:rPr lang="en-US" altLang="zh-CN" sz="1000" u="sng" dirty="0">
                <a:solidFill>
                  <a:srgbClr val="E87800"/>
                </a:solidFill>
                <a:latin typeface="Calibri" panose="020F0502020204030204" pitchFamily="34" charset="0"/>
                <a:ea typeface="Calibri" panose="020F0502020204030204" pitchFamily="34" charset="0"/>
                <a:sym typeface="Calibri" panose="020F0502020204030204" pitchFamily="34" charset="0"/>
              </a:rPr>
              <a:t>Conversion Rate</a:t>
            </a:r>
            <a:endParaRPr lang="en-US" altLang="zh-CN" sz="1000" u="sng" dirty="0">
              <a:solidFill>
                <a:srgbClr val="E87800"/>
              </a:solidFill>
              <a:latin typeface="Calibri" panose="020F0502020204030204" pitchFamily="34" charset="0"/>
              <a:ea typeface="Calibri" panose="020F0502020204030204" pitchFamily="34" charset="0"/>
              <a:sym typeface="Calibri" panose="020F0502020204030204" pitchFamily="34" charset="0"/>
            </a:endParaRPr>
          </a:p>
        </p:txBody>
      </p:sp>
      <p:cxnSp>
        <p:nvCxnSpPr>
          <p:cNvPr id="70" name="直接连接符 69"/>
          <p:cNvCxnSpPr/>
          <p:nvPr/>
        </p:nvCxnSpPr>
        <p:spPr>
          <a:xfrm>
            <a:off x="544244" y="770274"/>
            <a:ext cx="32734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6" name="Text Box 15"/>
          <p:cNvSpPr txBox="1"/>
          <p:nvPr/>
        </p:nvSpPr>
        <p:spPr>
          <a:xfrm>
            <a:off x="544195" y="924560"/>
            <a:ext cx="2530475" cy="299085"/>
          </a:xfrm>
          <a:prstGeom prst="rect">
            <a:avLst/>
          </a:prstGeom>
          <a:noFill/>
        </p:spPr>
        <p:txBody>
          <a:bodyPr wrap="square" rtlCol="0">
            <a:spAutoFit/>
          </a:bodyPr>
          <a:p>
            <a:r>
              <a:rPr lang="en-US">
                <a:solidFill>
                  <a:srgbClr val="000000"/>
                </a:solidFill>
              </a:rPr>
              <a:t>Application Process Overview</a:t>
            </a:r>
            <a:endParaRPr lang="en-US">
              <a:solidFill>
                <a:srgbClr val="000000"/>
              </a:solidFill>
            </a:endParaRPr>
          </a:p>
        </p:txBody>
      </p:sp>
      <p:sp>
        <p:nvSpPr>
          <p:cNvPr id="19" name="Text Box 18"/>
          <p:cNvSpPr txBox="1"/>
          <p:nvPr/>
        </p:nvSpPr>
        <p:spPr>
          <a:xfrm>
            <a:off x="765175" y="2304415"/>
            <a:ext cx="3598545" cy="2457450"/>
          </a:xfrm>
          <a:prstGeom prst="rect">
            <a:avLst/>
          </a:prstGeom>
          <a:noFill/>
        </p:spPr>
        <p:txBody>
          <a:bodyPr wrap="square" rtlCol="0">
            <a:noAutofit/>
          </a:bodyPr>
          <a:p>
            <a:pPr algn="ctr">
              <a:lnSpc>
                <a:spcPct val="115000"/>
              </a:lnSpc>
              <a:spcBef>
                <a:spcPts val="0"/>
              </a:spcBef>
              <a:spcAft>
                <a:spcPts val="0"/>
              </a:spcAft>
            </a:pPr>
            <a:r>
              <a:rPr lang="en-US">
                <a:solidFill>
                  <a:srgbClr val="00B050"/>
                </a:solidFill>
              </a:rPr>
              <a:t>Apply</a:t>
            </a:r>
            <a:endParaRPr lang="en-US">
              <a:solidFill>
                <a:srgbClr val="00B050"/>
              </a:solidFill>
            </a:endParaRPr>
          </a:p>
          <a:p>
            <a:pPr algn="ctr">
              <a:lnSpc>
                <a:spcPct val="115000"/>
              </a:lnSpc>
              <a:spcBef>
                <a:spcPts val="0"/>
              </a:spcBef>
              <a:spcAft>
                <a:spcPts val="0"/>
              </a:spcAft>
            </a:pPr>
            <a:r>
              <a:rPr lang="en-US" sz="1200">
                <a:solidFill>
                  <a:srgbClr val="00B050"/>
                </a:solidFill>
              </a:rPr>
              <a:t>↓</a:t>
            </a:r>
            <a:endParaRPr lang="en-US">
              <a:solidFill>
                <a:srgbClr val="00B050"/>
              </a:solidFill>
            </a:endParaRPr>
          </a:p>
          <a:p>
            <a:pPr algn="ctr">
              <a:lnSpc>
                <a:spcPct val="115000"/>
              </a:lnSpc>
              <a:spcBef>
                <a:spcPts val="0"/>
              </a:spcBef>
              <a:spcAft>
                <a:spcPts val="0"/>
              </a:spcAft>
            </a:pPr>
            <a:r>
              <a:rPr lang="en-US">
                <a:solidFill>
                  <a:srgbClr val="00B050"/>
                </a:solidFill>
              </a:rPr>
              <a:t>Card Mailed</a:t>
            </a:r>
            <a:endParaRPr lang="en-US">
              <a:solidFill>
                <a:srgbClr val="00B050"/>
              </a:solidFill>
            </a:endParaRPr>
          </a:p>
          <a:p>
            <a:pPr algn="ctr">
              <a:lnSpc>
                <a:spcPct val="115000"/>
              </a:lnSpc>
              <a:spcBef>
                <a:spcPts val="0"/>
              </a:spcBef>
              <a:spcAft>
                <a:spcPts val="0"/>
              </a:spcAft>
            </a:pPr>
            <a:r>
              <a:rPr lang="en-US" sz="1200">
                <a:solidFill>
                  <a:srgbClr val="00B050"/>
                </a:solidFill>
              </a:rPr>
              <a:t>↓</a:t>
            </a:r>
            <a:endParaRPr lang="en-US" sz="1200">
              <a:solidFill>
                <a:srgbClr val="00B050"/>
              </a:solidFill>
            </a:endParaRPr>
          </a:p>
          <a:p>
            <a:pPr algn="ctr">
              <a:lnSpc>
                <a:spcPct val="115000"/>
              </a:lnSpc>
              <a:spcBef>
                <a:spcPts val="0"/>
              </a:spcBef>
              <a:spcAft>
                <a:spcPts val="0"/>
              </a:spcAft>
            </a:pPr>
            <a:r>
              <a:rPr lang="en-US">
                <a:solidFill>
                  <a:srgbClr val="00B050"/>
                </a:solidFill>
              </a:rPr>
              <a:t>Card Activation</a:t>
            </a:r>
            <a:endParaRPr lang="en-US">
              <a:solidFill>
                <a:srgbClr val="00B050"/>
              </a:solidFill>
            </a:endParaRPr>
          </a:p>
          <a:p>
            <a:pPr algn="ctr">
              <a:lnSpc>
                <a:spcPct val="115000"/>
              </a:lnSpc>
              <a:spcBef>
                <a:spcPts val="0"/>
              </a:spcBef>
              <a:spcAft>
                <a:spcPts val="0"/>
              </a:spcAft>
            </a:pPr>
            <a:r>
              <a:rPr lang="en-US" sz="1200">
                <a:solidFill>
                  <a:srgbClr val="00B050"/>
                </a:solidFill>
                <a:sym typeface="+mn-ea"/>
              </a:rPr>
              <a:t>↓</a:t>
            </a:r>
            <a:endParaRPr lang="en-US" sz="1200">
              <a:solidFill>
                <a:srgbClr val="00B050"/>
              </a:solidFill>
            </a:endParaRPr>
          </a:p>
          <a:p>
            <a:pPr algn="ctr">
              <a:lnSpc>
                <a:spcPct val="115000"/>
              </a:lnSpc>
              <a:spcBef>
                <a:spcPts val="0"/>
              </a:spcBef>
              <a:spcAft>
                <a:spcPts val="0"/>
              </a:spcAft>
            </a:pPr>
            <a:r>
              <a:rPr lang="en-US" b="1" i="1">
                <a:solidFill>
                  <a:srgbClr val="00B050"/>
                </a:solidFill>
              </a:rPr>
              <a:t>Background Check Initiate</a:t>
            </a:r>
            <a:endParaRPr lang="en-US" b="1" i="1">
              <a:solidFill>
                <a:srgbClr val="00B050"/>
              </a:solidFill>
            </a:endParaRPr>
          </a:p>
          <a:p>
            <a:pPr algn="ctr">
              <a:lnSpc>
                <a:spcPct val="115000"/>
              </a:lnSpc>
              <a:spcBef>
                <a:spcPts val="0"/>
              </a:spcBef>
              <a:spcAft>
                <a:spcPts val="0"/>
              </a:spcAft>
            </a:pPr>
            <a:r>
              <a:rPr lang="en-US" sz="1200">
                <a:solidFill>
                  <a:srgbClr val="00B050"/>
                </a:solidFill>
                <a:sym typeface="+mn-ea"/>
              </a:rPr>
              <a:t>↓</a:t>
            </a:r>
            <a:endParaRPr lang="en-US" sz="1200">
              <a:solidFill>
                <a:srgbClr val="00B050"/>
              </a:solidFill>
            </a:endParaRPr>
          </a:p>
          <a:p>
            <a:pPr algn="ctr">
              <a:lnSpc>
                <a:spcPct val="115000"/>
              </a:lnSpc>
              <a:spcBef>
                <a:spcPts val="0"/>
              </a:spcBef>
              <a:spcAft>
                <a:spcPts val="0"/>
              </a:spcAft>
            </a:pPr>
            <a:r>
              <a:rPr lang="en-US">
                <a:solidFill>
                  <a:srgbClr val="00B050"/>
                </a:solidFill>
              </a:rPr>
              <a:t>Background Check Complete</a:t>
            </a:r>
            <a:endParaRPr lang="en-US">
              <a:solidFill>
                <a:srgbClr val="00B050"/>
              </a:solidFill>
            </a:endParaRPr>
          </a:p>
          <a:p>
            <a:pPr algn="ctr">
              <a:lnSpc>
                <a:spcPct val="115000"/>
              </a:lnSpc>
              <a:spcBef>
                <a:spcPts val="0"/>
              </a:spcBef>
              <a:spcAft>
                <a:spcPts val="0"/>
              </a:spcAft>
            </a:pPr>
            <a:r>
              <a:rPr lang="en-US" sz="1200">
                <a:solidFill>
                  <a:srgbClr val="00B050"/>
                </a:solidFill>
                <a:sym typeface="+mn-ea"/>
              </a:rPr>
              <a:t>↓</a:t>
            </a:r>
            <a:endParaRPr lang="en-US" sz="1200">
              <a:solidFill>
                <a:srgbClr val="00B050"/>
              </a:solidFill>
            </a:endParaRPr>
          </a:p>
          <a:p>
            <a:pPr algn="ctr">
              <a:lnSpc>
                <a:spcPct val="115000"/>
              </a:lnSpc>
              <a:spcBef>
                <a:spcPts val="0"/>
              </a:spcBef>
              <a:spcAft>
                <a:spcPts val="0"/>
              </a:spcAft>
            </a:pPr>
            <a:r>
              <a:rPr lang="en-US">
                <a:solidFill>
                  <a:srgbClr val="00B050"/>
                </a:solidFill>
              </a:rPr>
              <a:t>First Batch Complete</a:t>
            </a:r>
            <a:endParaRPr lang="en-US">
              <a:solidFill>
                <a:srgbClr val="00B050"/>
              </a:solidFill>
            </a:endParaRPr>
          </a:p>
        </p:txBody>
      </p:sp>
      <p:sp>
        <p:nvSpPr>
          <p:cNvPr id="22" name="Text Box 21"/>
          <p:cNvSpPr txBox="1"/>
          <p:nvPr/>
        </p:nvSpPr>
        <p:spPr>
          <a:xfrm>
            <a:off x="4803775" y="2304415"/>
            <a:ext cx="4207510" cy="2457450"/>
          </a:xfrm>
          <a:prstGeom prst="rect">
            <a:avLst/>
          </a:prstGeom>
          <a:noFill/>
        </p:spPr>
        <p:txBody>
          <a:bodyPr wrap="square" rtlCol="0">
            <a:noAutofit/>
          </a:bodyPr>
          <a:p>
            <a:pPr algn="ctr">
              <a:lnSpc>
                <a:spcPct val="115000"/>
              </a:lnSpc>
              <a:spcBef>
                <a:spcPts val="0"/>
              </a:spcBef>
              <a:spcAft>
                <a:spcPts val="0"/>
              </a:spcAft>
            </a:pPr>
            <a:r>
              <a:rPr lang="en-US">
                <a:solidFill>
                  <a:srgbClr val="E87800"/>
                </a:solidFill>
              </a:rPr>
              <a:t>Apply</a:t>
            </a:r>
            <a:endParaRPr lang="en-US">
              <a:solidFill>
                <a:srgbClr val="E87800"/>
              </a:solidFill>
            </a:endParaRPr>
          </a:p>
          <a:p>
            <a:pPr algn="ctr">
              <a:lnSpc>
                <a:spcPct val="115000"/>
              </a:lnSpc>
              <a:spcBef>
                <a:spcPts val="0"/>
              </a:spcBef>
              <a:spcAft>
                <a:spcPts val="0"/>
              </a:spcAft>
            </a:pPr>
            <a:r>
              <a:rPr lang="en-US" sz="1200">
                <a:solidFill>
                  <a:srgbClr val="E87800"/>
                </a:solidFill>
                <a:sym typeface="+mn-ea"/>
              </a:rPr>
              <a:t>↓</a:t>
            </a:r>
            <a:endParaRPr lang="en-US">
              <a:solidFill>
                <a:srgbClr val="E87800"/>
              </a:solidFill>
            </a:endParaRPr>
          </a:p>
          <a:p>
            <a:pPr algn="ctr">
              <a:lnSpc>
                <a:spcPct val="115000"/>
              </a:lnSpc>
              <a:spcBef>
                <a:spcPts val="0"/>
              </a:spcBef>
              <a:spcAft>
                <a:spcPts val="0"/>
              </a:spcAft>
            </a:pPr>
            <a:r>
              <a:rPr lang="en-US" b="1" i="1">
                <a:solidFill>
                  <a:srgbClr val="E87800"/>
                </a:solidFill>
                <a:sym typeface="+mn-ea"/>
              </a:rPr>
              <a:t>Background Check Initiate (immediately after apply)</a:t>
            </a:r>
            <a:endParaRPr lang="en-US" b="1" i="1">
              <a:solidFill>
                <a:srgbClr val="E87800"/>
              </a:solidFill>
            </a:endParaRPr>
          </a:p>
          <a:p>
            <a:pPr algn="ctr">
              <a:lnSpc>
                <a:spcPct val="115000"/>
              </a:lnSpc>
              <a:spcBef>
                <a:spcPts val="0"/>
              </a:spcBef>
              <a:spcAft>
                <a:spcPts val="0"/>
              </a:spcAft>
            </a:pPr>
            <a:r>
              <a:rPr lang="en-US" sz="1200">
                <a:solidFill>
                  <a:srgbClr val="E87800"/>
                </a:solidFill>
                <a:sym typeface="+mn-ea"/>
              </a:rPr>
              <a:t>↓</a:t>
            </a:r>
            <a:endParaRPr lang="en-US">
              <a:solidFill>
                <a:srgbClr val="E87800"/>
              </a:solidFill>
            </a:endParaRPr>
          </a:p>
          <a:p>
            <a:pPr algn="ctr">
              <a:lnSpc>
                <a:spcPct val="115000"/>
              </a:lnSpc>
              <a:spcBef>
                <a:spcPts val="0"/>
              </a:spcBef>
              <a:spcAft>
                <a:spcPts val="0"/>
              </a:spcAft>
            </a:pPr>
            <a:r>
              <a:rPr lang="en-US">
                <a:solidFill>
                  <a:srgbClr val="E87800"/>
                </a:solidFill>
              </a:rPr>
              <a:t>Card Mailed</a:t>
            </a:r>
            <a:endParaRPr lang="en-US">
              <a:solidFill>
                <a:srgbClr val="E87800"/>
              </a:solidFill>
            </a:endParaRPr>
          </a:p>
          <a:p>
            <a:pPr algn="ctr">
              <a:lnSpc>
                <a:spcPct val="115000"/>
              </a:lnSpc>
              <a:spcBef>
                <a:spcPts val="0"/>
              </a:spcBef>
              <a:spcAft>
                <a:spcPts val="0"/>
              </a:spcAft>
            </a:pPr>
            <a:r>
              <a:rPr lang="en-US" sz="1200">
                <a:solidFill>
                  <a:srgbClr val="E87800"/>
                </a:solidFill>
                <a:sym typeface="+mn-ea"/>
              </a:rPr>
              <a:t>↓</a:t>
            </a:r>
            <a:endParaRPr lang="en-US">
              <a:solidFill>
                <a:srgbClr val="E87800"/>
              </a:solidFill>
            </a:endParaRPr>
          </a:p>
          <a:p>
            <a:pPr algn="ctr">
              <a:lnSpc>
                <a:spcPct val="115000"/>
              </a:lnSpc>
              <a:spcBef>
                <a:spcPts val="0"/>
              </a:spcBef>
              <a:spcAft>
                <a:spcPts val="0"/>
              </a:spcAft>
            </a:pPr>
            <a:r>
              <a:rPr lang="en-US">
                <a:solidFill>
                  <a:srgbClr val="E87800"/>
                </a:solidFill>
              </a:rPr>
              <a:t>Card Activation</a:t>
            </a:r>
            <a:endParaRPr lang="en-US">
              <a:solidFill>
                <a:srgbClr val="E87800"/>
              </a:solidFill>
            </a:endParaRPr>
          </a:p>
          <a:p>
            <a:pPr algn="ctr">
              <a:lnSpc>
                <a:spcPct val="115000"/>
              </a:lnSpc>
              <a:spcBef>
                <a:spcPts val="0"/>
              </a:spcBef>
              <a:spcAft>
                <a:spcPts val="0"/>
              </a:spcAft>
            </a:pPr>
            <a:r>
              <a:rPr lang="en-US" sz="1200">
                <a:solidFill>
                  <a:srgbClr val="E87800"/>
                </a:solidFill>
                <a:sym typeface="+mn-ea"/>
              </a:rPr>
              <a:t>↓</a:t>
            </a:r>
            <a:endParaRPr lang="en-US">
              <a:solidFill>
                <a:srgbClr val="E87800"/>
              </a:solidFill>
            </a:endParaRPr>
          </a:p>
          <a:p>
            <a:pPr algn="ctr">
              <a:lnSpc>
                <a:spcPct val="115000"/>
              </a:lnSpc>
              <a:spcBef>
                <a:spcPts val="0"/>
              </a:spcBef>
              <a:spcAft>
                <a:spcPts val="0"/>
              </a:spcAft>
            </a:pPr>
            <a:r>
              <a:rPr lang="en-US">
                <a:solidFill>
                  <a:srgbClr val="E87800"/>
                </a:solidFill>
              </a:rPr>
              <a:t>Background Check Complete</a:t>
            </a:r>
            <a:endParaRPr lang="en-US">
              <a:solidFill>
                <a:srgbClr val="E87800"/>
              </a:solidFill>
            </a:endParaRPr>
          </a:p>
          <a:p>
            <a:pPr algn="ctr">
              <a:lnSpc>
                <a:spcPct val="115000"/>
              </a:lnSpc>
              <a:spcBef>
                <a:spcPts val="0"/>
              </a:spcBef>
              <a:spcAft>
                <a:spcPts val="0"/>
              </a:spcAft>
            </a:pPr>
            <a:r>
              <a:rPr lang="en-US" sz="1200">
                <a:solidFill>
                  <a:srgbClr val="E87800"/>
                </a:solidFill>
                <a:sym typeface="+mn-ea"/>
              </a:rPr>
              <a:t>↓</a:t>
            </a:r>
            <a:endParaRPr lang="en-US" sz="1200">
              <a:solidFill>
                <a:srgbClr val="E87800"/>
              </a:solidFill>
            </a:endParaRPr>
          </a:p>
          <a:p>
            <a:pPr algn="ctr">
              <a:lnSpc>
                <a:spcPct val="115000"/>
              </a:lnSpc>
              <a:spcBef>
                <a:spcPts val="0"/>
              </a:spcBef>
              <a:spcAft>
                <a:spcPts val="0"/>
              </a:spcAft>
            </a:pPr>
            <a:r>
              <a:rPr lang="en-US">
                <a:solidFill>
                  <a:srgbClr val="E87800"/>
                </a:solidFill>
              </a:rPr>
              <a:t> First Batch Complete</a:t>
            </a:r>
            <a:endParaRPr lang="en-US">
              <a:solidFill>
                <a:srgbClr val="E87800"/>
              </a:solidFill>
            </a:endParaRPr>
          </a:p>
        </p:txBody>
      </p:sp>
      <p:sp>
        <p:nvSpPr>
          <p:cNvPr id="25" name="Text Box 24"/>
          <p:cNvSpPr txBox="1"/>
          <p:nvPr/>
        </p:nvSpPr>
        <p:spPr>
          <a:xfrm>
            <a:off x="4041140" y="4377055"/>
            <a:ext cx="1582420" cy="645160"/>
          </a:xfrm>
          <a:prstGeom prst="rect">
            <a:avLst/>
          </a:prstGeom>
          <a:noFill/>
        </p:spPr>
        <p:txBody>
          <a:bodyPr wrap="square" rtlCol="0">
            <a:spAutoFit/>
          </a:bodyPr>
          <a:p>
            <a:r>
              <a:rPr lang="en-US" sz="1200"/>
              <a:t>For both group:</a:t>
            </a:r>
            <a:endParaRPr lang="en-US" sz="1200"/>
          </a:p>
          <a:p>
            <a:r>
              <a:rPr lang="en-US" sz="1200"/>
              <a:t>Take Orientation (optional)</a:t>
            </a:r>
            <a:endParaRPr lang="en-US" sz="1200"/>
          </a:p>
        </p:txBody>
      </p:sp>
      <p:sp>
        <p:nvSpPr>
          <p:cNvPr id="18" name="Text Box 17"/>
          <p:cNvSpPr txBox="1"/>
          <p:nvPr/>
        </p:nvSpPr>
        <p:spPr>
          <a:xfrm>
            <a:off x="4858385" y="924560"/>
            <a:ext cx="3048000" cy="299085"/>
          </a:xfrm>
          <a:prstGeom prst="rect">
            <a:avLst/>
          </a:prstGeom>
          <a:noFill/>
        </p:spPr>
        <p:txBody>
          <a:bodyPr wrap="square" rtlCol="0">
            <a:spAutoFit/>
          </a:bodyPr>
          <a:p>
            <a:r>
              <a:rPr lang="en-US">
                <a:solidFill>
                  <a:srgbClr val="000000"/>
                </a:solidFill>
              </a:rPr>
              <a:t>Test Duration: 41 Days</a:t>
            </a:r>
            <a:endParaRPr lang="en-US">
              <a:solidFill>
                <a:srgbClr val="000000"/>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13"/>
          <p:cNvSpPr txBox="1"/>
          <p:nvPr/>
        </p:nvSpPr>
        <p:spPr>
          <a:xfrm>
            <a:off x="301625" y="3458845"/>
            <a:ext cx="4134485" cy="1513840"/>
          </a:xfrm>
          <a:prstGeom prst="rect">
            <a:avLst/>
          </a:prstGeom>
          <a:solidFill>
            <a:srgbClr val="FFC000"/>
          </a:solidFill>
        </p:spPr>
        <p:txBody>
          <a:bodyPr vert="horz" lIns="68580" tIns="34290" rIns="68580" bIns="34290"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endParaRPr lang="en-US" sz="750" dirty="0">
              <a:solidFill>
                <a:schemeClr val="bg1">
                  <a:lumMod val="95000"/>
                </a:schemeClr>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 name="Rectangle 93"/>
          <p:cNvSpPr>
            <a:spLocks noChangeArrowheads="1"/>
          </p:cNvSpPr>
          <p:nvPr/>
        </p:nvSpPr>
        <p:spPr bwMode="auto">
          <a:xfrm>
            <a:off x="4947775" y="1207914"/>
            <a:ext cx="896620" cy="511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r>
              <a:rPr lang="zh-CN" altLang="en-US" sz="1400" b="1" dirty="0">
                <a:solidFill>
                  <a:schemeClr val="bg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Enter title
</a:t>
            </a:r>
            <a:endParaRPr lang="en-US" altLang="zh-CN" sz="1400" b="1" dirty="0">
              <a:solidFill>
                <a:schemeClr val="bg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8" name="TextBox 94"/>
          <p:cNvSpPr txBox="1">
            <a:spLocks noChangeArrowheads="1"/>
          </p:cNvSpPr>
          <p:nvPr/>
        </p:nvSpPr>
        <p:spPr bwMode="auto">
          <a:xfrm>
            <a:off x="4947774" y="1528682"/>
            <a:ext cx="2843135" cy="520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lnSpc>
                <a:spcPct val="150000"/>
              </a:lnSpc>
            </a:pPr>
            <a:r>
              <a:rPr lang="en-US" altLang="zh-CN" sz="1000" dirty="0">
                <a:solidFill>
                  <a:schemeClr val="bg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This Template Is Designed By </a:t>
            </a:r>
            <a:r>
              <a:rPr lang="en-US" altLang="zh-CN" sz="1000" dirty="0" err="1">
                <a:solidFill>
                  <a:schemeClr val="bg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Zuo</a:t>
            </a:r>
            <a:r>
              <a:rPr lang="en-US" altLang="zh-CN" sz="1000" dirty="0">
                <a:solidFill>
                  <a:schemeClr val="bg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r>
              <a:rPr lang="en-US" altLang="zh-CN" sz="1000" dirty="0" err="1">
                <a:solidFill>
                  <a:schemeClr val="bg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n,It</a:t>
            </a:r>
            <a:r>
              <a:rPr lang="en-US" altLang="zh-CN" sz="1000" dirty="0">
                <a:solidFill>
                  <a:schemeClr val="bg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Will Help You Make You Report Easy And Fast.</a:t>
            </a:r>
            <a:endParaRPr lang="en-US" altLang="zh-CN" sz="1000" dirty="0">
              <a:solidFill>
                <a:schemeClr val="bg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cxnSp>
        <p:nvCxnSpPr>
          <p:cNvPr id="9" name="直接连接符 8"/>
          <p:cNvCxnSpPr/>
          <p:nvPr/>
        </p:nvCxnSpPr>
        <p:spPr>
          <a:xfrm>
            <a:off x="5039879" y="1537130"/>
            <a:ext cx="21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3"/>
          <p:cNvSpPr>
            <a:spLocks noChangeArrowheads="1"/>
          </p:cNvSpPr>
          <p:nvPr/>
        </p:nvSpPr>
        <p:spPr bwMode="auto">
          <a:xfrm>
            <a:off x="407462" y="3541810"/>
            <a:ext cx="968375" cy="511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algn="r" eaLnBrk="1" hangingPunct="1"/>
            <a:r>
              <a:rPr lang="en-US" altLang="zh-CN" sz="1400" b="1" dirty="0">
                <a:solidFill>
                  <a:schemeClr val="bg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onclusion</a:t>
            </a:r>
            <a:r>
              <a:rPr lang="zh-CN" altLang="en-US" sz="1400" b="1" dirty="0">
                <a:solidFill>
                  <a:schemeClr val="bg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endParaRPr lang="en-US" altLang="zh-CN" sz="1400" b="1" dirty="0">
              <a:solidFill>
                <a:schemeClr val="bg1"/>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 name="TextBox 94"/>
          <p:cNvSpPr txBox="1">
            <a:spLocks noChangeArrowheads="1"/>
          </p:cNvSpPr>
          <p:nvPr/>
        </p:nvSpPr>
        <p:spPr bwMode="auto">
          <a:xfrm>
            <a:off x="448945" y="3862705"/>
            <a:ext cx="3764915" cy="1004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algn="l" eaLnBrk="1" hangingPunct="1">
              <a:lnSpc>
                <a:spcPct val="150000"/>
              </a:lnSpc>
            </a:pPr>
            <a:r>
              <a:rPr lang="en-US" altLang="zh-CN" sz="1000" b="1" dirty="0">
                <a:solidFill>
                  <a:srgbClr val="494B4E"/>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If initiate background check earlier:</a:t>
            </a:r>
            <a:endParaRPr lang="en-US" altLang="zh-CN" sz="1000" b="1" dirty="0">
              <a:solidFill>
                <a:srgbClr val="494B4E"/>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algn="l" eaLnBrk="1" hangingPunct="1">
              <a:lnSpc>
                <a:spcPct val="150000"/>
              </a:lnSpc>
            </a:pPr>
            <a:r>
              <a:rPr lang="en-US" altLang="zh-CN" sz="1000" dirty="0">
                <a:solidFill>
                  <a:srgbClr val="494B4E"/>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1. Conversion rate significantly increased (by 59.7%)</a:t>
            </a:r>
            <a:endParaRPr lang="en-US" altLang="zh-CN" sz="1000" dirty="0">
              <a:solidFill>
                <a:srgbClr val="494B4E"/>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algn="l" eaLnBrk="1" hangingPunct="1">
              <a:lnSpc>
                <a:spcPct val="150000"/>
              </a:lnSpc>
            </a:pPr>
            <a:r>
              <a:rPr lang="en-US" altLang="zh-CN" sz="1000" dirty="0">
                <a:solidFill>
                  <a:srgbClr val="494B4E"/>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2. We are 95% confidence that there is true difference in conversion rate between two groups. </a:t>
            </a:r>
            <a:endParaRPr lang="en-US" altLang="zh-CN" sz="1000" dirty="0">
              <a:solidFill>
                <a:srgbClr val="494B4E"/>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cxnSp>
        <p:nvCxnSpPr>
          <p:cNvPr id="12" name="直接连接符 11"/>
          <p:cNvCxnSpPr/>
          <p:nvPr/>
        </p:nvCxnSpPr>
        <p:spPr>
          <a:xfrm>
            <a:off x="494327" y="3862771"/>
            <a:ext cx="21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93"/>
          <p:cNvSpPr>
            <a:spLocks noChangeArrowheads="1"/>
          </p:cNvSpPr>
          <p:nvPr/>
        </p:nvSpPr>
        <p:spPr bwMode="auto">
          <a:xfrm>
            <a:off x="448448" y="202115"/>
            <a:ext cx="2198370"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r>
              <a:rPr lang="en-US" altLang="zh-CN" sz="1600" b="1" dirty="0">
                <a:solidFill>
                  <a:schemeClr val="tx2"/>
                </a:solidFill>
                <a:latin typeface="Calibri" panose="020F0502020204030204" pitchFamily="34" charset="0"/>
                <a:ea typeface="Calibri" panose="020F0502020204030204" pitchFamily="34" charset="0"/>
                <a:sym typeface="Calibri" panose="020F0502020204030204" pitchFamily="34" charset="0"/>
              </a:rPr>
              <a:t>Evaluate A/B Test Result</a:t>
            </a:r>
            <a:endParaRPr lang="en-US" altLang="zh-CN" sz="1600" b="1" dirty="0">
              <a:solidFill>
                <a:schemeClr val="tx2"/>
              </a:solidFill>
              <a:latin typeface="Calibri" panose="020F0502020204030204" pitchFamily="34" charset="0"/>
              <a:ea typeface="Calibri" panose="020F0502020204030204" pitchFamily="34" charset="0"/>
              <a:sym typeface="Calibri" panose="020F0502020204030204" pitchFamily="34" charset="0"/>
            </a:endParaRPr>
          </a:p>
        </p:txBody>
      </p:sp>
      <p:cxnSp>
        <p:nvCxnSpPr>
          <p:cNvPr id="17" name="直接连接符 16"/>
          <p:cNvCxnSpPr/>
          <p:nvPr/>
        </p:nvCxnSpPr>
        <p:spPr>
          <a:xfrm>
            <a:off x="544244" y="770274"/>
            <a:ext cx="327340" cy="0"/>
          </a:xfrm>
          <a:prstGeom prst="line">
            <a:avLst/>
          </a:prstGeom>
          <a:ln w="12700"/>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p:nvPr/>
        </p:nvGraphicFramePr>
        <p:xfrm>
          <a:off x="544195" y="942975"/>
          <a:ext cx="8044815" cy="1188720"/>
        </p:xfrm>
        <a:graphic>
          <a:graphicData uri="http://schemas.openxmlformats.org/drawingml/2006/table">
            <a:tbl>
              <a:tblPr firstRow="1" bandRow="1">
                <a:tableStyleId>{5C22544A-7EE6-4342-B048-85BDC9FD1C3A}</a:tableStyleId>
              </a:tblPr>
              <a:tblGrid>
                <a:gridCol w="2681605"/>
                <a:gridCol w="2681605"/>
                <a:gridCol w="2681605"/>
              </a:tblGrid>
              <a:tr h="297180">
                <a:tc>
                  <a:txBody>
                    <a:bodyPr/>
                    <a:p>
                      <a:pPr>
                        <a:buNone/>
                      </a:pPr>
                      <a:endParaRPr lang="en-US"/>
                    </a:p>
                  </a:txBody>
                  <a:tcPr>
                    <a:solidFill>
                      <a:srgbClr val="E87800"/>
                    </a:solidFill>
                  </a:tcPr>
                </a:tc>
                <a:tc>
                  <a:txBody>
                    <a:bodyPr/>
                    <a:p>
                      <a:pPr algn="ctr">
                        <a:buNone/>
                      </a:pPr>
                      <a:r>
                        <a:rPr lang="en-US"/>
                        <a:t>Control</a:t>
                      </a:r>
                      <a:endParaRPr lang="en-US"/>
                    </a:p>
                  </a:txBody>
                  <a:tcPr>
                    <a:solidFill>
                      <a:srgbClr val="E87800"/>
                    </a:solidFill>
                  </a:tcPr>
                </a:tc>
                <a:tc>
                  <a:txBody>
                    <a:bodyPr/>
                    <a:p>
                      <a:pPr algn="ctr">
                        <a:buNone/>
                      </a:pPr>
                      <a:r>
                        <a:rPr lang="en-US"/>
                        <a:t>Treatment</a:t>
                      </a:r>
                      <a:endParaRPr lang="en-US"/>
                    </a:p>
                  </a:txBody>
                  <a:tcPr>
                    <a:solidFill>
                      <a:srgbClr val="E87800"/>
                    </a:solidFill>
                  </a:tcPr>
                </a:tc>
              </a:tr>
              <a:tr h="297180">
                <a:tc>
                  <a:txBody>
                    <a:bodyPr/>
                    <a:p>
                      <a:pPr>
                        <a:buNone/>
                      </a:pPr>
                      <a:r>
                        <a:rPr lang="en-US">
                          <a:solidFill>
                            <a:srgbClr val="494B4E"/>
                          </a:solidFill>
                        </a:rPr>
                        <a:t># Applicants</a:t>
                      </a:r>
                      <a:endParaRPr lang="en-US">
                        <a:solidFill>
                          <a:srgbClr val="494B4E"/>
                        </a:solidFill>
                      </a:endParaRPr>
                    </a:p>
                  </a:txBody>
                  <a:tcPr>
                    <a:solidFill>
                      <a:schemeClr val="bg1">
                        <a:lumMod val="95000"/>
                      </a:schemeClr>
                    </a:solidFill>
                  </a:tcPr>
                </a:tc>
                <a:tc>
                  <a:txBody>
                    <a:bodyPr/>
                    <a:p>
                      <a:pPr algn="ctr">
                        <a:buNone/>
                      </a:pPr>
                      <a:r>
                        <a:rPr lang="en-US">
                          <a:solidFill>
                            <a:srgbClr val="494B4E"/>
                          </a:solidFill>
                        </a:rPr>
                        <a:t>10024</a:t>
                      </a:r>
                      <a:endParaRPr lang="en-US">
                        <a:solidFill>
                          <a:srgbClr val="494B4E"/>
                        </a:solidFill>
                      </a:endParaRPr>
                    </a:p>
                  </a:txBody>
                  <a:tcPr>
                    <a:solidFill>
                      <a:schemeClr val="bg1">
                        <a:lumMod val="95000"/>
                      </a:schemeClr>
                    </a:solidFill>
                  </a:tcPr>
                </a:tc>
                <a:tc>
                  <a:txBody>
                    <a:bodyPr/>
                    <a:p>
                      <a:pPr algn="ctr">
                        <a:buNone/>
                      </a:pPr>
                      <a:r>
                        <a:rPr lang="en-US">
                          <a:solidFill>
                            <a:srgbClr val="494B4E"/>
                          </a:solidFill>
                        </a:rPr>
                        <a:t>4958</a:t>
                      </a:r>
                      <a:endParaRPr lang="en-US">
                        <a:solidFill>
                          <a:srgbClr val="494B4E"/>
                        </a:solidFill>
                      </a:endParaRPr>
                    </a:p>
                  </a:txBody>
                  <a:tcPr>
                    <a:solidFill>
                      <a:schemeClr val="bg1">
                        <a:lumMod val="95000"/>
                      </a:schemeClr>
                    </a:solidFill>
                  </a:tcPr>
                </a:tc>
              </a:tr>
              <a:tr h="297180">
                <a:tc>
                  <a:txBody>
                    <a:bodyPr/>
                    <a:p>
                      <a:pPr>
                        <a:buNone/>
                      </a:pPr>
                      <a:r>
                        <a:rPr lang="en-US">
                          <a:solidFill>
                            <a:srgbClr val="494B4E"/>
                          </a:solidFill>
                        </a:rPr>
                        <a:t># First Batch Complete</a:t>
                      </a:r>
                      <a:endParaRPr lang="en-US">
                        <a:solidFill>
                          <a:srgbClr val="494B4E"/>
                        </a:solidFill>
                      </a:endParaRPr>
                    </a:p>
                  </a:txBody>
                  <a:tcPr>
                    <a:solidFill>
                      <a:schemeClr val="bg1">
                        <a:lumMod val="95000"/>
                      </a:schemeClr>
                    </a:solidFill>
                  </a:tcPr>
                </a:tc>
                <a:tc>
                  <a:txBody>
                    <a:bodyPr/>
                    <a:p>
                      <a:pPr algn="ctr">
                        <a:buNone/>
                      </a:pPr>
                      <a:r>
                        <a:rPr lang="en-US">
                          <a:solidFill>
                            <a:srgbClr val="494B4E"/>
                          </a:solidFill>
                        </a:rPr>
                        <a:t>2678</a:t>
                      </a:r>
                      <a:endParaRPr lang="en-US">
                        <a:solidFill>
                          <a:srgbClr val="494B4E"/>
                        </a:solidFill>
                      </a:endParaRPr>
                    </a:p>
                  </a:txBody>
                  <a:tcPr>
                    <a:solidFill>
                      <a:schemeClr val="bg1">
                        <a:lumMod val="95000"/>
                      </a:schemeClr>
                    </a:solidFill>
                  </a:tcPr>
                </a:tc>
                <a:tc>
                  <a:txBody>
                    <a:bodyPr/>
                    <a:p>
                      <a:pPr algn="ctr">
                        <a:buNone/>
                      </a:pPr>
                      <a:r>
                        <a:rPr lang="en-US">
                          <a:solidFill>
                            <a:srgbClr val="494B4E"/>
                          </a:solidFill>
                        </a:rPr>
                        <a:t>2115</a:t>
                      </a:r>
                      <a:endParaRPr lang="en-US">
                        <a:solidFill>
                          <a:srgbClr val="494B4E"/>
                        </a:solidFill>
                      </a:endParaRPr>
                    </a:p>
                  </a:txBody>
                  <a:tcPr>
                    <a:solidFill>
                      <a:schemeClr val="bg1">
                        <a:lumMod val="95000"/>
                      </a:schemeClr>
                    </a:solidFill>
                  </a:tcPr>
                </a:tc>
              </a:tr>
              <a:tr h="297180">
                <a:tc>
                  <a:txBody>
                    <a:bodyPr/>
                    <a:p>
                      <a:pPr>
                        <a:buNone/>
                      </a:pPr>
                      <a:r>
                        <a:rPr lang="en-US" b="1" u="sng">
                          <a:solidFill>
                            <a:srgbClr val="494B4E"/>
                          </a:solidFill>
                        </a:rPr>
                        <a:t>Conversion Rate</a:t>
                      </a:r>
                      <a:endParaRPr lang="en-US" b="1" u="sng">
                        <a:solidFill>
                          <a:srgbClr val="494B4E"/>
                        </a:solidFill>
                      </a:endParaRPr>
                    </a:p>
                  </a:txBody>
                  <a:tcPr>
                    <a:solidFill>
                      <a:srgbClr val="FFCB66"/>
                    </a:solidFill>
                  </a:tcPr>
                </a:tc>
                <a:tc>
                  <a:txBody>
                    <a:bodyPr/>
                    <a:p>
                      <a:pPr algn="ctr">
                        <a:buNone/>
                      </a:pPr>
                      <a:r>
                        <a:rPr lang="en-US">
                          <a:solidFill>
                            <a:srgbClr val="494B4E"/>
                          </a:solidFill>
                        </a:rPr>
                        <a:t>26.72%</a:t>
                      </a:r>
                      <a:endParaRPr lang="en-US">
                        <a:solidFill>
                          <a:srgbClr val="494B4E"/>
                        </a:solidFill>
                      </a:endParaRPr>
                    </a:p>
                  </a:txBody>
                  <a:tcPr>
                    <a:solidFill>
                      <a:srgbClr val="FFCB66"/>
                    </a:solidFill>
                  </a:tcPr>
                </a:tc>
                <a:tc>
                  <a:txBody>
                    <a:bodyPr/>
                    <a:p>
                      <a:pPr algn="ctr">
                        <a:buNone/>
                      </a:pPr>
                      <a:r>
                        <a:rPr lang="en-US">
                          <a:solidFill>
                            <a:srgbClr val="FF0000"/>
                          </a:solidFill>
                        </a:rPr>
                        <a:t>42.66%</a:t>
                      </a:r>
                      <a:endParaRPr lang="en-US">
                        <a:solidFill>
                          <a:srgbClr val="FF0000"/>
                        </a:solidFill>
                      </a:endParaRPr>
                    </a:p>
                  </a:txBody>
                  <a:tcPr>
                    <a:solidFill>
                      <a:srgbClr val="FFCB66"/>
                    </a:solidFill>
                  </a:tcPr>
                </a:tc>
              </a:tr>
            </a:tbl>
          </a:graphicData>
        </a:graphic>
      </p:graphicFrame>
      <p:sp>
        <p:nvSpPr>
          <p:cNvPr id="14" name="Text Box 13"/>
          <p:cNvSpPr txBox="1"/>
          <p:nvPr/>
        </p:nvSpPr>
        <p:spPr>
          <a:xfrm>
            <a:off x="5039995" y="2336165"/>
            <a:ext cx="3993515" cy="922020"/>
          </a:xfrm>
          <a:prstGeom prst="rect">
            <a:avLst/>
          </a:prstGeom>
          <a:noFill/>
        </p:spPr>
        <p:txBody>
          <a:bodyPr wrap="square" rtlCol="0">
            <a:spAutoFit/>
          </a:bodyPr>
          <a:p>
            <a:r>
              <a:rPr lang="en-US" b="1">
                <a:solidFill>
                  <a:srgbClr val="494B4E"/>
                </a:solidFill>
              </a:rPr>
              <a:t>Two Sample T-test</a:t>
            </a:r>
            <a:endParaRPr lang="en-US" b="1">
              <a:solidFill>
                <a:srgbClr val="494B4E"/>
              </a:solidFill>
            </a:endParaRPr>
          </a:p>
          <a:p>
            <a:endParaRPr lang="en-US"/>
          </a:p>
          <a:p>
            <a:r>
              <a:rPr lang="en-US"/>
              <a:t>Z-score: 19.69</a:t>
            </a:r>
            <a:endParaRPr lang="en-US"/>
          </a:p>
          <a:p>
            <a:r>
              <a:rPr lang="en-US"/>
              <a:t>Result: statistically significant at 95% confidence level</a:t>
            </a:r>
            <a:endParaRPr lang="en-US"/>
          </a:p>
        </p:txBody>
      </p:sp>
      <p:sp>
        <p:nvSpPr>
          <p:cNvPr id="19" name="Text Box 18"/>
          <p:cNvSpPr txBox="1"/>
          <p:nvPr/>
        </p:nvSpPr>
        <p:spPr>
          <a:xfrm>
            <a:off x="5039995" y="3544570"/>
            <a:ext cx="3667760" cy="1337945"/>
          </a:xfrm>
          <a:prstGeom prst="rect">
            <a:avLst/>
          </a:prstGeom>
          <a:noFill/>
        </p:spPr>
        <p:txBody>
          <a:bodyPr wrap="square" rtlCol="0">
            <a:spAutoFit/>
          </a:bodyPr>
          <a:p>
            <a:r>
              <a:rPr lang="en-US" b="1">
                <a:solidFill>
                  <a:srgbClr val="494B4E"/>
                </a:solidFill>
              </a:rPr>
              <a:t>Confidence Interval</a:t>
            </a:r>
            <a:endParaRPr lang="en-US" b="1">
              <a:solidFill>
                <a:srgbClr val="494B4E"/>
              </a:solidFill>
            </a:endParaRPr>
          </a:p>
          <a:p>
            <a:endParaRPr lang="en-US"/>
          </a:p>
          <a:p>
            <a:r>
              <a:rPr lang="en-US"/>
              <a:t>[0.1520, 0.1669]</a:t>
            </a:r>
            <a:endParaRPr lang="en-US"/>
          </a:p>
          <a:p>
            <a:r>
              <a:rPr lang="en-US"/>
              <a:t>Result: True difference do</a:t>
            </a:r>
            <a:r>
              <a:rPr lang="en-US"/>
              <a:t>es not include 0.</a:t>
            </a:r>
            <a:endParaRPr lang="en-US"/>
          </a:p>
          <a:p>
            <a:r>
              <a:rPr lang="en-US"/>
              <a:t>Positive value indicate that conversion rate in treatment group is higher.</a:t>
            </a:r>
            <a:endParaRPr lang="en-US"/>
          </a:p>
        </p:txBody>
      </p:sp>
      <p:sp>
        <p:nvSpPr>
          <p:cNvPr id="21" name="Text Box 20"/>
          <p:cNvSpPr txBox="1"/>
          <p:nvPr/>
        </p:nvSpPr>
        <p:spPr>
          <a:xfrm>
            <a:off x="210185" y="2352040"/>
            <a:ext cx="4829810" cy="814705"/>
          </a:xfrm>
          <a:prstGeom prst="rect">
            <a:avLst/>
          </a:prstGeom>
          <a:noFill/>
        </p:spPr>
        <p:txBody>
          <a:bodyPr wrap="square" rtlCol="0">
            <a:spAutoFit/>
          </a:bodyPr>
          <a:p>
            <a:r>
              <a:rPr lang="en-US" b="1">
                <a:solidFill>
                  <a:srgbClr val="494B4E"/>
                </a:solidFill>
              </a:rPr>
              <a:t>Null hypothesis: Conversion rate is the </a:t>
            </a:r>
            <a:r>
              <a:rPr lang="en-US" b="1">
                <a:solidFill>
                  <a:srgbClr val="E87800"/>
                </a:solidFill>
              </a:rPr>
              <a:t>same</a:t>
            </a:r>
            <a:r>
              <a:rPr lang="en-US" b="1">
                <a:solidFill>
                  <a:srgbClr val="494B4E"/>
                </a:solidFill>
              </a:rPr>
              <a:t> in two groups</a:t>
            </a:r>
            <a:endParaRPr lang="en-US" b="1">
              <a:solidFill>
                <a:srgbClr val="494B4E"/>
              </a:solidFill>
            </a:endParaRPr>
          </a:p>
          <a:p>
            <a:r>
              <a:rPr lang="en-US" sz="1000" b="1">
                <a:solidFill>
                  <a:srgbClr val="494B4E"/>
                </a:solidFill>
              </a:rPr>
              <a:t>(H0)</a:t>
            </a:r>
            <a:endParaRPr lang="en-US" sz="1000" b="1">
              <a:solidFill>
                <a:srgbClr val="494B4E"/>
              </a:solidFill>
            </a:endParaRPr>
          </a:p>
          <a:p>
            <a:r>
              <a:rPr lang="en-US" b="1">
                <a:solidFill>
                  <a:srgbClr val="494B4E"/>
                </a:solidFill>
              </a:rPr>
              <a:t>Alternative hypothesis: </a:t>
            </a:r>
            <a:r>
              <a:rPr lang="en-US" b="1">
                <a:solidFill>
                  <a:srgbClr val="494B4E"/>
                </a:solidFill>
                <a:sym typeface="+mn-ea"/>
              </a:rPr>
              <a:t>Conversion rate is </a:t>
            </a:r>
            <a:r>
              <a:rPr lang="en-US" b="1">
                <a:solidFill>
                  <a:srgbClr val="E87800"/>
                </a:solidFill>
                <a:sym typeface="+mn-ea"/>
              </a:rPr>
              <a:t>different</a:t>
            </a:r>
            <a:r>
              <a:rPr lang="en-US" b="1">
                <a:solidFill>
                  <a:srgbClr val="494B4E"/>
                </a:solidFill>
                <a:sym typeface="+mn-ea"/>
              </a:rPr>
              <a:t> in two groups</a:t>
            </a:r>
            <a:endParaRPr lang="en-US" b="1">
              <a:solidFill>
                <a:srgbClr val="494B4E"/>
              </a:solidFill>
            </a:endParaRPr>
          </a:p>
          <a:p>
            <a:r>
              <a:rPr lang="en-US" sz="1000" b="1">
                <a:solidFill>
                  <a:srgbClr val="494B4E"/>
                </a:solidFill>
              </a:rPr>
              <a:t>(Ha)</a:t>
            </a:r>
            <a:endParaRPr lang="en-US" sz="1000" b="1">
              <a:solidFill>
                <a:srgbClr val="494B4E"/>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c 62"/>
          <p:cNvSpPr/>
          <p:nvPr/>
        </p:nvSpPr>
        <p:spPr>
          <a:xfrm>
            <a:off x="2919001" y="1414795"/>
            <a:ext cx="2935926" cy="2935926"/>
          </a:xfrm>
          <a:prstGeom prst="arc">
            <a:avLst>
              <a:gd name="adj1" fmla="val 16200000"/>
              <a:gd name="adj2" fmla="val 5474721"/>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 name="Arc 63"/>
          <p:cNvSpPr/>
          <p:nvPr/>
        </p:nvSpPr>
        <p:spPr>
          <a:xfrm>
            <a:off x="2911270" y="1400299"/>
            <a:ext cx="2935926" cy="2935926"/>
          </a:xfrm>
          <a:prstGeom prst="arc">
            <a:avLst>
              <a:gd name="adj1" fmla="val 19972636"/>
              <a:gd name="adj2" fmla="val 1880715"/>
            </a:avLst>
          </a:prstGeom>
          <a:ln w="762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grpSp>
        <p:nvGrpSpPr>
          <p:cNvPr id="5" name="Group 64"/>
          <p:cNvGrpSpPr/>
          <p:nvPr/>
        </p:nvGrpSpPr>
        <p:grpSpPr>
          <a:xfrm flipH="1">
            <a:off x="2865874" y="1400299"/>
            <a:ext cx="2943657" cy="2950422"/>
            <a:chOff x="5373388" y="2145789"/>
            <a:chExt cx="3243699" cy="3251154"/>
          </a:xfrm>
        </p:grpSpPr>
        <p:sp>
          <p:nvSpPr>
            <p:cNvPr id="6" name="Arc 65"/>
            <p:cNvSpPr/>
            <p:nvPr/>
          </p:nvSpPr>
          <p:spPr>
            <a:xfrm>
              <a:off x="5381907" y="2161763"/>
              <a:ext cx="3235180" cy="3235180"/>
            </a:xfrm>
            <a:prstGeom prst="arc">
              <a:avLst>
                <a:gd name="adj1" fmla="val 16200000"/>
                <a:gd name="adj2" fmla="val 5474721"/>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 name="Arc 66"/>
            <p:cNvSpPr/>
            <p:nvPr/>
          </p:nvSpPr>
          <p:spPr>
            <a:xfrm>
              <a:off x="5373388" y="2145789"/>
              <a:ext cx="3235180" cy="3235180"/>
            </a:xfrm>
            <a:prstGeom prst="arc">
              <a:avLst>
                <a:gd name="adj1" fmla="val 17486112"/>
                <a:gd name="adj2" fmla="val 1752928"/>
              </a:avLst>
            </a:prstGeom>
            <a:ln w="762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grpSp>
      <p:grpSp>
        <p:nvGrpSpPr>
          <p:cNvPr id="8" name="Group 70"/>
          <p:cNvGrpSpPr/>
          <p:nvPr/>
        </p:nvGrpSpPr>
        <p:grpSpPr>
          <a:xfrm>
            <a:off x="2896015" y="1470057"/>
            <a:ext cx="852488" cy="852488"/>
            <a:chOff x="2663336" y="2684698"/>
            <a:chExt cx="1664170" cy="1664170"/>
          </a:xfrm>
        </p:grpSpPr>
        <p:sp>
          <p:nvSpPr>
            <p:cNvPr id="9" name="Pie 71"/>
            <p:cNvSpPr/>
            <p:nvPr/>
          </p:nvSpPr>
          <p:spPr>
            <a:xfrm>
              <a:off x="2663336" y="2684698"/>
              <a:ext cx="1664170" cy="1664170"/>
            </a:xfrm>
            <a:prstGeom prst="pie">
              <a:avLst>
                <a:gd name="adj1" fmla="val 16200000"/>
                <a:gd name="adj2" fmla="val 16200000"/>
              </a:avLst>
            </a:prstGeom>
            <a:solidFill>
              <a:schemeClr val="bg1">
                <a:lumMod val="6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spc="-113">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 name="Oval 73"/>
            <p:cNvSpPr/>
            <p:nvPr/>
          </p:nvSpPr>
          <p:spPr>
            <a:xfrm>
              <a:off x="2843468" y="2864830"/>
              <a:ext cx="1303909" cy="1303909"/>
            </a:xfrm>
            <a:prstGeom prst="ellipse">
              <a:avLst/>
            </a:prstGeom>
            <a:solidFill>
              <a:schemeClr val="accent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spc="-113">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 name="Oval 74"/>
            <p:cNvSpPr/>
            <p:nvPr/>
          </p:nvSpPr>
          <p:spPr>
            <a:xfrm>
              <a:off x="3005598" y="3026960"/>
              <a:ext cx="979648" cy="9796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spc="-113">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 name="TextBox 75"/>
            <p:cNvSpPr txBox="1"/>
            <p:nvPr/>
          </p:nvSpPr>
          <p:spPr>
            <a:xfrm>
              <a:off x="2939191" y="3303810"/>
              <a:ext cx="1048705" cy="478487"/>
            </a:xfrm>
            <a:prstGeom prst="rect">
              <a:avLst/>
            </a:prstGeom>
            <a:noFill/>
          </p:spPr>
          <p:txBody>
            <a:bodyPr wrap="none" rtlCol="0" anchor="ctr">
              <a:spAutoFit/>
            </a:bodyPr>
            <a:lstStyle/>
            <a:p>
              <a:pPr algn="ctr"/>
              <a:r>
                <a:rPr lang="en-US" sz="10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96.14</a:t>
              </a:r>
              <a:endParaRPr lang="en-US" sz="10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grpSp>
      <p:grpSp>
        <p:nvGrpSpPr>
          <p:cNvPr id="13" name="Group 76"/>
          <p:cNvGrpSpPr/>
          <p:nvPr/>
        </p:nvGrpSpPr>
        <p:grpSpPr>
          <a:xfrm>
            <a:off x="5510191" y="2474455"/>
            <a:ext cx="852488" cy="852488"/>
            <a:chOff x="2663335" y="2684699"/>
            <a:chExt cx="1664169" cy="1664170"/>
          </a:xfrm>
        </p:grpSpPr>
        <p:sp>
          <p:nvSpPr>
            <p:cNvPr id="14" name="Pie 77"/>
            <p:cNvSpPr/>
            <p:nvPr/>
          </p:nvSpPr>
          <p:spPr>
            <a:xfrm>
              <a:off x="2663335" y="2684699"/>
              <a:ext cx="1664169" cy="1664170"/>
            </a:xfrm>
            <a:prstGeom prst="pie">
              <a:avLst>
                <a:gd name="adj1" fmla="val 16200000"/>
                <a:gd name="adj2" fmla="val 16200000"/>
              </a:avLst>
            </a:prstGeom>
            <a:solidFill>
              <a:schemeClr val="bg1">
                <a:lumMod val="6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spc="-113">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 name="Oval 78"/>
            <p:cNvSpPr/>
            <p:nvPr/>
          </p:nvSpPr>
          <p:spPr>
            <a:xfrm>
              <a:off x="2843468" y="2864830"/>
              <a:ext cx="1303909" cy="1303909"/>
            </a:xfrm>
            <a:prstGeom prst="ellipse">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spc="-113">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6" name="Oval 79"/>
            <p:cNvSpPr/>
            <p:nvPr/>
          </p:nvSpPr>
          <p:spPr>
            <a:xfrm>
              <a:off x="3005598" y="3026960"/>
              <a:ext cx="979648" cy="9796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spc="-113">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7" name="TextBox 80"/>
            <p:cNvSpPr txBox="1"/>
            <p:nvPr/>
          </p:nvSpPr>
          <p:spPr>
            <a:xfrm>
              <a:off x="2956355" y="3303809"/>
              <a:ext cx="1048705" cy="478487"/>
            </a:xfrm>
            <a:prstGeom prst="rect">
              <a:avLst/>
            </a:prstGeom>
            <a:noFill/>
          </p:spPr>
          <p:txBody>
            <a:bodyPr wrap="none" rtlCol="0" anchor="ctr">
              <a:spAutoFit/>
            </a:bodyPr>
            <a:lstStyle/>
            <a:p>
              <a:pPr algn="ctr"/>
              <a:r>
                <a:rPr lang="en-US" sz="10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70.33</a:t>
              </a:r>
              <a:endParaRPr lang="en-US" sz="10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grpSp>
      <p:grpSp>
        <p:nvGrpSpPr>
          <p:cNvPr id="18" name="Group 5"/>
          <p:cNvGrpSpPr/>
          <p:nvPr/>
        </p:nvGrpSpPr>
        <p:grpSpPr>
          <a:xfrm>
            <a:off x="3867049" y="1717792"/>
            <a:ext cx="1571723" cy="2148056"/>
            <a:chOff x="5352876" y="2401184"/>
            <a:chExt cx="2305195" cy="3150482"/>
          </a:xfrm>
        </p:grpSpPr>
        <p:grpSp>
          <p:nvGrpSpPr>
            <p:cNvPr id="19" name="Group 81"/>
            <p:cNvGrpSpPr/>
            <p:nvPr/>
          </p:nvGrpSpPr>
          <p:grpSpPr>
            <a:xfrm>
              <a:off x="5580179" y="2724994"/>
              <a:ext cx="1389268" cy="1628815"/>
              <a:chOff x="3381827" y="3133730"/>
              <a:chExt cx="928220" cy="1088274"/>
            </a:xfrm>
          </p:grpSpPr>
          <p:sp>
            <p:nvSpPr>
              <p:cNvPr id="93" name="Freeform 186"/>
              <p:cNvSpPr/>
              <p:nvPr>
                <p:custDataLst>
                  <p:tags r:id="rId1"/>
                </p:custDataLst>
              </p:nvPr>
            </p:nvSpPr>
            <p:spPr bwMode="auto">
              <a:xfrm>
                <a:off x="3632470" y="3176962"/>
                <a:ext cx="677577" cy="1045042"/>
              </a:xfrm>
              <a:custGeom>
                <a:avLst/>
                <a:gdLst>
                  <a:gd name="T0" fmla="*/ 636 w 638"/>
                  <a:gd name="T1" fmla="*/ 438 h 984"/>
                  <a:gd name="T2" fmla="*/ 636 w 638"/>
                  <a:gd name="T3" fmla="*/ 394 h 984"/>
                  <a:gd name="T4" fmla="*/ 630 w 638"/>
                  <a:gd name="T5" fmla="*/ 320 h 984"/>
                  <a:gd name="T6" fmla="*/ 620 w 638"/>
                  <a:gd name="T7" fmla="*/ 280 h 984"/>
                  <a:gd name="T8" fmla="*/ 610 w 638"/>
                  <a:gd name="T9" fmla="*/ 244 h 984"/>
                  <a:gd name="T10" fmla="*/ 602 w 638"/>
                  <a:gd name="T11" fmla="*/ 222 h 984"/>
                  <a:gd name="T12" fmla="*/ 590 w 638"/>
                  <a:gd name="T13" fmla="*/ 198 h 984"/>
                  <a:gd name="T14" fmla="*/ 582 w 638"/>
                  <a:gd name="T15" fmla="*/ 182 h 984"/>
                  <a:gd name="T16" fmla="*/ 570 w 638"/>
                  <a:gd name="T17" fmla="*/ 162 h 984"/>
                  <a:gd name="T18" fmla="*/ 562 w 638"/>
                  <a:gd name="T19" fmla="*/ 150 h 984"/>
                  <a:gd name="T20" fmla="*/ 550 w 638"/>
                  <a:gd name="T21" fmla="*/ 134 h 984"/>
                  <a:gd name="T22" fmla="*/ 540 w 638"/>
                  <a:gd name="T23" fmla="*/ 122 h 984"/>
                  <a:gd name="T24" fmla="*/ 528 w 638"/>
                  <a:gd name="T25" fmla="*/ 108 h 984"/>
                  <a:gd name="T26" fmla="*/ 518 w 638"/>
                  <a:gd name="T27" fmla="*/ 98 h 984"/>
                  <a:gd name="T28" fmla="*/ 504 w 638"/>
                  <a:gd name="T29" fmla="*/ 88 h 984"/>
                  <a:gd name="T30" fmla="*/ 494 w 638"/>
                  <a:gd name="T31" fmla="*/ 78 h 984"/>
                  <a:gd name="T32" fmla="*/ 478 w 638"/>
                  <a:gd name="T33" fmla="*/ 68 h 984"/>
                  <a:gd name="T34" fmla="*/ 468 w 638"/>
                  <a:gd name="T35" fmla="*/ 62 h 984"/>
                  <a:gd name="T36" fmla="*/ 450 w 638"/>
                  <a:gd name="T37" fmla="*/ 52 h 984"/>
                  <a:gd name="T38" fmla="*/ 338 w 638"/>
                  <a:gd name="T39" fmla="*/ 0 h 984"/>
                  <a:gd name="T40" fmla="*/ 344 w 638"/>
                  <a:gd name="T41" fmla="*/ 4 h 984"/>
                  <a:gd name="T42" fmla="*/ 360 w 638"/>
                  <a:gd name="T43" fmla="*/ 12 h 984"/>
                  <a:gd name="T44" fmla="*/ 372 w 638"/>
                  <a:gd name="T45" fmla="*/ 20 h 984"/>
                  <a:gd name="T46" fmla="*/ 386 w 638"/>
                  <a:gd name="T47" fmla="*/ 30 h 984"/>
                  <a:gd name="T48" fmla="*/ 398 w 638"/>
                  <a:gd name="T49" fmla="*/ 38 h 984"/>
                  <a:gd name="T50" fmla="*/ 410 w 638"/>
                  <a:gd name="T51" fmla="*/ 50 h 984"/>
                  <a:gd name="T52" fmla="*/ 486 w 638"/>
                  <a:gd name="T53" fmla="*/ 178 h 984"/>
                  <a:gd name="T54" fmla="*/ 468 w 638"/>
                  <a:gd name="T55" fmla="*/ 344 h 984"/>
                  <a:gd name="T56" fmla="*/ 294 w 638"/>
                  <a:gd name="T57" fmla="*/ 600 h 984"/>
                  <a:gd name="T58" fmla="*/ 108 w 638"/>
                  <a:gd name="T59" fmla="*/ 770 h 984"/>
                  <a:gd name="T60" fmla="*/ 124 w 638"/>
                  <a:gd name="T61" fmla="*/ 910 h 984"/>
                  <a:gd name="T62" fmla="*/ 74 w 638"/>
                  <a:gd name="T63" fmla="*/ 952 h 984"/>
                  <a:gd name="T64" fmla="*/ 138 w 638"/>
                  <a:gd name="T65" fmla="*/ 980 h 984"/>
                  <a:gd name="T66" fmla="*/ 266 w 638"/>
                  <a:gd name="T67" fmla="*/ 972 h 984"/>
                  <a:gd name="T68" fmla="*/ 336 w 638"/>
                  <a:gd name="T69" fmla="*/ 944 h 984"/>
                  <a:gd name="T70" fmla="*/ 360 w 638"/>
                  <a:gd name="T71" fmla="*/ 932 h 984"/>
                  <a:gd name="T72" fmla="*/ 388 w 638"/>
                  <a:gd name="T73" fmla="*/ 914 h 984"/>
                  <a:gd name="T74" fmla="*/ 406 w 638"/>
                  <a:gd name="T75" fmla="*/ 900 h 984"/>
                  <a:gd name="T76" fmla="*/ 426 w 638"/>
                  <a:gd name="T77" fmla="*/ 884 h 984"/>
                  <a:gd name="T78" fmla="*/ 440 w 638"/>
                  <a:gd name="T79" fmla="*/ 870 h 984"/>
                  <a:gd name="T80" fmla="*/ 458 w 638"/>
                  <a:gd name="T81" fmla="*/ 854 h 984"/>
                  <a:gd name="T82" fmla="*/ 472 w 638"/>
                  <a:gd name="T83" fmla="*/ 840 h 984"/>
                  <a:gd name="T84" fmla="*/ 488 w 638"/>
                  <a:gd name="T85" fmla="*/ 822 h 984"/>
                  <a:gd name="T86" fmla="*/ 498 w 638"/>
                  <a:gd name="T87" fmla="*/ 808 h 984"/>
                  <a:gd name="T88" fmla="*/ 512 w 638"/>
                  <a:gd name="T89" fmla="*/ 790 h 984"/>
                  <a:gd name="T90" fmla="*/ 524 w 638"/>
                  <a:gd name="T91" fmla="*/ 774 h 984"/>
                  <a:gd name="T92" fmla="*/ 536 w 638"/>
                  <a:gd name="T93" fmla="*/ 754 h 984"/>
                  <a:gd name="T94" fmla="*/ 546 w 638"/>
                  <a:gd name="T95" fmla="*/ 740 h 984"/>
                  <a:gd name="T96" fmla="*/ 558 w 638"/>
                  <a:gd name="T97" fmla="*/ 718 h 984"/>
                  <a:gd name="T98" fmla="*/ 568 w 638"/>
                  <a:gd name="T99" fmla="*/ 700 h 984"/>
                  <a:gd name="T100" fmla="*/ 580 w 638"/>
                  <a:gd name="T101" fmla="*/ 676 h 984"/>
                  <a:gd name="T102" fmla="*/ 588 w 638"/>
                  <a:gd name="T103" fmla="*/ 656 h 984"/>
                  <a:gd name="T104" fmla="*/ 598 w 638"/>
                  <a:gd name="T105" fmla="*/ 630 h 984"/>
                  <a:gd name="T106" fmla="*/ 602 w 638"/>
                  <a:gd name="T107" fmla="*/ 614 h 984"/>
                  <a:gd name="T108" fmla="*/ 612 w 638"/>
                  <a:gd name="T109" fmla="*/ 584 h 984"/>
                  <a:gd name="T110" fmla="*/ 620 w 638"/>
                  <a:gd name="T111" fmla="*/ 556 h 984"/>
                  <a:gd name="T112" fmla="*/ 630 w 638"/>
                  <a:gd name="T113" fmla="*/ 500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8" h="984">
                    <a:moveTo>
                      <a:pt x="630" y="500"/>
                    </a:moveTo>
                    <a:lnTo>
                      <a:pt x="630" y="500"/>
                    </a:lnTo>
                    <a:lnTo>
                      <a:pt x="634" y="480"/>
                    </a:lnTo>
                    <a:lnTo>
                      <a:pt x="634" y="480"/>
                    </a:lnTo>
                    <a:lnTo>
                      <a:pt x="636" y="458"/>
                    </a:lnTo>
                    <a:lnTo>
                      <a:pt x="636" y="458"/>
                    </a:lnTo>
                    <a:lnTo>
                      <a:pt x="636" y="438"/>
                    </a:lnTo>
                    <a:lnTo>
                      <a:pt x="636" y="438"/>
                    </a:lnTo>
                    <a:lnTo>
                      <a:pt x="636" y="424"/>
                    </a:lnTo>
                    <a:lnTo>
                      <a:pt x="636" y="424"/>
                    </a:lnTo>
                    <a:lnTo>
                      <a:pt x="638" y="408"/>
                    </a:lnTo>
                    <a:lnTo>
                      <a:pt x="638" y="408"/>
                    </a:lnTo>
                    <a:lnTo>
                      <a:pt x="636" y="394"/>
                    </a:lnTo>
                    <a:lnTo>
                      <a:pt x="636" y="394"/>
                    </a:lnTo>
                    <a:lnTo>
                      <a:pt x="636" y="382"/>
                    </a:lnTo>
                    <a:lnTo>
                      <a:pt x="636" y="382"/>
                    </a:lnTo>
                    <a:lnTo>
                      <a:pt x="634" y="360"/>
                    </a:lnTo>
                    <a:lnTo>
                      <a:pt x="634" y="360"/>
                    </a:lnTo>
                    <a:lnTo>
                      <a:pt x="632" y="340"/>
                    </a:lnTo>
                    <a:lnTo>
                      <a:pt x="632" y="340"/>
                    </a:lnTo>
                    <a:lnTo>
                      <a:pt x="630" y="320"/>
                    </a:lnTo>
                    <a:lnTo>
                      <a:pt x="630" y="320"/>
                    </a:lnTo>
                    <a:lnTo>
                      <a:pt x="626" y="302"/>
                    </a:lnTo>
                    <a:lnTo>
                      <a:pt x="626" y="302"/>
                    </a:lnTo>
                    <a:lnTo>
                      <a:pt x="624" y="290"/>
                    </a:lnTo>
                    <a:lnTo>
                      <a:pt x="624" y="290"/>
                    </a:lnTo>
                    <a:lnTo>
                      <a:pt x="620" y="280"/>
                    </a:lnTo>
                    <a:lnTo>
                      <a:pt x="620" y="280"/>
                    </a:lnTo>
                    <a:lnTo>
                      <a:pt x="618" y="270"/>
                    </a:lnTo>
                    <a:lnTo>
                      <a:pt x="618" y="270"/>
                    </a:lnTo>
                    <a:lnTo>
                      <a:pt x="616" y="260"/>
                    </a:lnTo>
                    <a:lnTo>
                      <a:pt x="616" y="260"/>
                    </a:lnTo>
                    <a:lnTo>
                      <a:pt x="612" y="252"/>
                    </a:lnTo>
                    <a:lnTo>
                      <a:pt x="612" y="252"/>
                    </a:lnTo>
                    <a:lnTo>
                      <a:pt x="610" y="244"/>
                    </a:lnTo>
                    <a:lnTo>
                      <a:pt x="610" y="244"/>
                    </a:lnTo>
                    <a:lnTo>
                      <a:pt x="608" y="236"/>
                    </a:lnTo>
                    <a:lnTo>
                      <a:pt x="608" y="236"/>
                    </a:lnTo>
                    <a:lnTo>
                      <a:pt x="604" y="230"/>
                    </a:lnTo>
                    <a:lnTo>
                      <a:pt x="604" y="230"/>
                    </a:lnTo>
                    <a:lnTo>
                      <a:pt x="602" y="222"/>
                    </a:lnTo>
                    <a:lnTo>
                      <a:pt x="602" y="222"/>
                    </a:lnTo>
                    <a:lnTo>
                      <a:pt x="598" y="216"/>
                    </a:lnTo>
                    <a:lnTo>
                      <a:pt x="598" y="216"/>
                    </a:lnTo>
                    <a:lnTo>
                      <a:pt x="596" y="210"/>
                    </a:lnTo>
                    <a:lnTo>
                      <a:pt x="596" y="210"/>
                    </a:lnTo>
                    <a:lnTo>
                      <a:pt x="594" y="204"/>
                    </a:lnTo>
                    <a:lnTo>
                      <a:pt x="594" y="204"/>
                    </a:lnTo>
                    <a:lnTo>
                      <a:pt x="590" y="198"/>
                    </a:lnTo>
                    <a:lnTo>
                      <a:pt x="590" y="198"/>
                    </a:lnTo>
                    <a:lnTo>
                      <a:pt x="588" y="192"/>
                    </a:lnTo>
                    <a:lnTo>
                      <a:pt x="588" y="192"/>
                    </a:lnTo>
                    <a:lnTo>
                      <a:pt x="584" y="188"/>
                    </a:lnTo>
                    <a:lnTo>
                      <a:pt x="584" y="188"/>
                    </a:lnTo>
                    <a:lnTo>
                      <a:pt x="582" y="182"/>
                    </a:lnTo>
                    <a:lnTo>
                      <a:pt x="582" y="182"/>
                    </a:lnTo>
                    <a:lnTo>
                      <a:pt x="580" y="176"/>
                    </a:lnTo>
                    <a:lnTo>
                      <a:pt x="580" y="176"/>
                    </a:lnTo>
                    <a:lnTo>
                      <a:pt x="576" y="172"/>
                    </a:lnTo>
                    <a:lnTo>
                      <a:pt x="576" y="172"/>
                    </a:lnTo>
                    <a:lnTo>
                      <a:pt x="574" y="168"/>
                    </a:lnTo>
                    <a:lnTo>
                      <a:pt x="574" y="168"/>
                    </a:lnTo>
                    <a:lnTo>
                      <a:pt x="570" y="162"/>
                    </a:lnTo>
                    <a:lnTo>
                      <a:pt x="570" y="162"/>
                    </a:lnTo>
                    <a:lnTo>
                      <a:pt x="568" y="158"/>
                    </a:lnTo>
                    <a:lnTo>
                      <a:pt x="568" y="158"/>
                    </a:lnTo>
                    <a:lnTo>
                      <a:pt x="564" y="154"/>
                    </a:lnTo>
                    <a:lnTo>
                      <a:pt x="564" y="154"/>
                    </a:lnTo>
                    <a:lnTo>
                      <a:pt x="562" y="150"/>
                    </a:lnTo>
                    <a:lnTo>
                      <a:pt x="562" y="150"/>
                    </a:lnTo>
                    <a:lnTo>
                      <a:pt x="558" y="146"/>
                    </a:lnTo>
                    <a:lnTo>
                      <a:pt x="558" y="146"/>
                    </a:lnTo>
                    <a:lnTo>
                      <a:pt x="556" y="142"/>
                    </a:lnTo>
                    <a:lnTo>
                      <a:pt x="556" y="142"/>
                    </a:lnTo>
                    <a:lnTo>
                      <a:pt x="552" y="138"/>
                    </a:lnTo>
                    <a:lnTo>
                      <a:pt x="552" y="138"/>
                    </a:lnTo>
                    <a:lnTo>
                      <a:pt x="550" y="134"/>
                    </a:lnTo>
                    <a:lnTo>
                      <a:pt x="550" y="134"/>
                    </a:lnTo>
                    <a:lnTo>
                      <a:pt x="546" y="130"/>
                    </a:lnTo>
                    <a:lnTo>
                      <a:pt x="546" y="130"/>
                    </a:lnTo>
                    <a:lnTo>
                      <a:pt x="544" y="126"/>
                    </a:lnTo>
                    <a:lnTo>
                      <a:pt x="544" y="126"/>
                    </a:lnTo>
                    <a:lnTo>
                      <a:pt x="540" y="122"/>
                    </a:lnTo>
                    <a:lnTo>
                      <a:pt x="540" y="122"/>
                    </a:lnTo>
                    <a:lnTo>
                      <a:pt x="538" y="118"/>
                    </a:lnTo>
                    <a:lnTo>
                      <a:pt x="538" y="118"/>
                    </a:lnTo>
                    <a:lnTo>
                      <a:pt x="534" y="116"/>
                    </a:lnTo>
                    <a:lnTo>
                      <a:pt x="534" y="116"/>
                    </a:lnTo>
                    <a:lnTo>
                      <a:pt x="530" y="112"/>
                    </a:lnTo>
                    <a:lnTo>
                      <a:pt x="530" y="112"/>
                    </a:lnTo>
                    <a:lnTo>
                      <a:pt x="528" y="108"/>
                    </a:lnTo>
                    <a:lnTo>
                      <a:pt x="528" y="108"/>
                    </a:lnTo>
                    <a:lnTo>
                      <a:pt x="524" y="106"/>
                    </a:lnTo>
                    <a:lnTo>
                      <a:pt x="524" y="106"/>
                    </a:lnTo>
                    <a:lnTo>
                      <a:pt x="522" y="102"/>
                    </a:lnTo>
                    <a:lnTo>
                      <a:pt x="522" y="102"/>
                    </a:lnTo>
                    <a:lnTo>
                      <a:pt x="518" y="98"/>
                    </a:lnTo>
                    <a:lnTo>
                      <a:pt x="518" y="98"/>
                    </a:lnTo>
                    <a:lnTo>
                      <a:pt x="514" y="96"/>
                    </a:lnTo>
                    <a:lnTo>
                      <a:pt x="514" y="96"/>
                    </a:lnTo>
                    <a:lnTo>
                      <a:pt x="512" y="92"/>
                    </a:lnTo>
                    <a:lnTo>
                      <a:pt x="512" y="92"/>
                    </a:lnTo>
                    <a:lnTo>
                      <a:pt x="508" y="90"/>
                    </a:lnTo>
                    <a:lnTo>
                      <a:pt x="508" y="90"/>
                    </a:lnTo>
                    <a:lnTo>
                      <a:pt x="504" y="88"/>
                    </a:lnTo>
                    <a:lnTo>
                      <a:pt x="504" y="88"/>
                    </a:lnTo>
                    <a:lnTo>
                      <a:pt x="500" y="84"/>
                    </a:lnTo>
                    <a:lnTo>
                      <a:pt x="500" y="84"/>
                    </a:lnTo>
                    <a:lnTo>
                      <a:pt x="498" y="82"/>
                    </a:lnTo>
                    <a:lnTo>
                      <a:pt x="498" y="82"/>
                    </a:lnTo>
                    <a:lnTo>
                      <a:pt x="494" y="78"/>
                    </a:lnTo>
                    <a:lnTo>
                      <a:pt x="494" y="78"/>
                    </a:lnTo>
                    <a:lnTo>
                      <a:pt x="490" y="76"/>
                    </a:lnTo>
                    <a:lnTo>
                      <a:pt x="490" y="76"/>
                    </a:lnTo>
                    <a:lnTo>
                      <a:pt x="486" y="74"/>
                    </a:lnTo>
                    <a:lnTo>
                      <a:pt x="486" y="74"/>
                    </a:lnTo>
                    <a:lnTo>
                      <a:pt x="482" y="72"/>
                    </a:lnTo>
                    <a:lnTo>
                      <a:pt x="482" y="72"/>
                    </a:lnTo>
                    <a:lnTo>
                      <a:pt x="478" y="68"/>
                    </a:lnTo>
                    <a:lnTo>
                      <a:pt x="478" y="68"/>
                    </a:lnTo>
                    <a:lnTo>
                      <a:pt x="474" y="66"/>
                    </a:lnTo>
                    <a:lnTo>
                      <a:pt x="474" y="66"/>
                    </a:lnTo>
                    <a:lnTo>
                      <a:pt x="472" y="64"/>
                    </a:lnTo>
                    <a:lnTo>
                      <a:pt x="472" y="64"/>
                    </a:lnTo>
                    <a:lnTo>
                      <a:pt x="468" y="62"/>
                    </a:lnTo>
                    <a:lnTo>
                      <a:pt x="468" y="62"/>
                    </a:lnTo>
                    <a:lnTo>
                      <a:pt x="464" y="60"/>
                    </a:lnTo>
                    <a:lnTo>
                      <a:pt x="464" y="60"/>
                    </a:lnTo>
                    <a:lnTo>
                      <a:pt x="458" y="56"/>
                    </a:lnTo>
                    <a:lnTo>
                      <a:pt x="458" y="56"/>
                    </a:lnTo>
                    <a:lnTo>
                      <a:pt x="454" y="54"/>
                    </a:lnTo>
                    <a:lnTo>
                      <a:pt x="454" y="54"/>
                    </a:lnTo>
                    <a:lnTo>
                      <a:pt x="450" y="52"/>
                    </a:lnTo>
                    <a:lnTo>
                      <a:pt x="450" y="52"/>
                    </a:lnTo>
                    <a:lnTo>
                      <a:pt x="446" y="50"/>
                    </a:lnTo>
                    <a:lnTo>
                      <a:pt x="446" y="50"/>
                    </a:lnTo>
                    <a:lnTo>
                      <a:pt x="446" y="50"/>
                    </a:lnTo>
                    <a:lnTo>
                      <a:pt x="446" y="50"/>
                    </a:lnTo>
                    <a:lnTo>
                      <a:pt x="446" y="50"/>
                    </a:lnTo>
                    <a:lnTo>
                      <a:pt x="338" y="0"/>
                    </a:lnTo>
                    <a:lnTo>
                      <a:pt x="338" y="0"/>
                    </a:lnTo>
                    <a:lnTo>
                      <a:pt x="338" y="0"/>
                    </a:lnTo>
                    <a:lnTo>
                      <a:pt x="338" y="0"/>
                    </a:lnTo>
                    <a:lnTo>
                      <a:pt x="338" y="2"/>
                    </a:lnTo>
                    <a:lnTo>
                      <a:pt x="338" y="2"/>
                    </a:lnTo>
                    <a:lnTo>
                      <a:pt x="344" y="4"/>
                    </a:lnTo>
                    <a:lnTo>
                      <a:pt x="344" y="4"/>
                    </a:lnTo>
                    <a:lnTo>
                      <a:pt x="348" y="6"/>
                    </a:lnTo>
                    <a:lnTo>
                      <a:pt x="348" y="6"/>
                    </a:lnTo>
                    <a:lnTo>
                      <a:pt x="352" y="8"/>
                    </a:lnTo>
                    <a:lnTo>
                      <a:pt x="352" y="8"/>
                    </a:lnTo>
                    <a:lnTo>
                      <a:pt x="356" y="10"/>
                    </a:lnTo>
                    <a:lnTo>
                      <a:pt x="356" y="10"/>
                    </a:lnTo>
                    <a:lnTo>
                      <a:pt x="360" y="12"/>
                    </a:lnTo>
                    <a:lnTo>
                      <a:pt x="360" y="12"/>
                    </a:lnTo>
                    <a:lnTo>
                      <a:pt x="364" y="14"/>
                    </a:lnTo>
                    <a:lnTo>
                      <a:pt x="364" y="14"/>
                    </a:lnTo>
                    <a:lnTo>
                      <a:pt x="368" y="16"/>
                    </a:lnTo>
                    <a:lnTo>
                      <a:pt x="368" y="16"/>
                    </a:lnTo>
                    <a:lnTo>
                      <a:pt x="372" y="20"/>
                    </a:lnTo>
                    <a:lnTo>
                      <a:pt x="372" y="20"/>
                    </a:lnTo>
                    <a:lnTo>
                      <a:pt x="376" y="22"/>
                    </a:lnTo>
                    <a:lnTo>
                      <a:pt x="376" y="22"/>
                    </a:lnTo>
                    <a:lnTo>
                      <a:pt x="380" y="24"/>
                    </a:lnTo>
                    <a:lnTo>
                      <a:pt x="380" y="24"/>
                    </a:lnTo>
                    <a:lnTo>
                      <a:pt x="382" y="26"/>
                    </a:lnTo>
                    <a:lnTo>
                      <a:pt x="382" y="26"/>
                    </a:lnTo>
                    <a:lnTo>
                      <a:pt x="386" y="30"/>
                    </a:lnTo>
                    <a:lnTo>
                      <a:pt x="386" y="30"/>
                    </a:lnTo>
                    <a:lnTo>
                      <a:pt x="390" y="32"/>
                    </a:lnTo>
                    <a:lnTo>
                      <a:pt x="390" y="32"/>
                    </a:lnTo>
                    <a:lnTo>
                      <a:pt x="394" y="36"/>
                    </a:lnTo>
                    <a:lnTo>
                      <a:pt x="394" y="36"/>
                    </a:lnTo>
                    <a:lnTo>
                      <a:pt x="398" y="38"/>
                    </a:lnTo>
                    <a:lnTo>
                      <a:pt x="398" y="38"/>
                    </a:lnTo>
                    <a:lnTo>
                      <a:pt x="400" y="40"/>
                    </a:lnTo>
                    <a:lnTo>
                      <a:pt x="400" y="40"/>
                    </a:lnTo>
                    <a:lnTo>
                      <a:pt x="404" y="44"/>
                    </a:lnTo>
                    <a:lnTo>
                      <a:pt x="404" y="44"/>
                    </a:lnTo>
                    <a:lnTo>
                      <a:pt x="408" y="46"/>
                    </a:lnTo>
                    <a:lnTo>
                      <a:pt x="408" y="46"/>
                    </a:lnTo>
                    <a:lnTo>
                      <a:pt x="410" y="50"/>
                    </a:lnTo>
                    <a:lnTo>
                      <a:pt x="410" y="50"/>
                    </a:lnTo>
                    <a:lnTo>
                      <a:pt x="430" y="70"/>
                    </a:lnTo>
                    <a:lnTo>
                      <a:pt x="446" y="90"/>
                    </a:lnTo>
                    <a:lnTo>
                      <a:pt x="460" y="112"/>
                    </a:lnTo>
                    <a:lnTo>
                      <a:pt x="472" y="134"/>
                    </a:lnTo>
                    <a:lnTo>
                      <a:pt x="480" y="156"/>
                    </a:lnTo>
                    <a:lnTo>
                      <a:pt x="486" y="178"/>
                    </a:lnTo>
                    <a:lnTo>
                      <a:pt x="490" y="202"/>
                    </a:lnTo>
                    <a:lnTo>
                      <a:pt x="492" y="224"/>
                    </a:lnTo>
                    <a:lnTo>
                      <a:pt x="490" y="248"/>
                    </a:lnTo>
                    <a:lnTo>
                      <a:pt x="488" y="272"/>
                    </a:lnTo>
                    <a:lnTo>
                      <a:pt x="484" y="296"/>
                    </a:lnTo>
                    <a:lnTo>
                      <a:pt x="478" y="320"/>
                    </a:lnTo>
                    <a:lnTo>
                      <a:pt x="468" y="344"/>
                    </a:lnTo>
                    <a:lnTo>
                      <a:pt x="458" y="368"/>
                    </a:lnTo>
                    <a:lnTo>
                      <a:pt x="448" y="392"/>
                    </a:lnTo>
                    <a:lnTo>
                      <a:pt x="434" y="416"/>
                    </a:lnTo>
                    <a:lnTo>
                      <a:pt x="406" y="464"/>
                    </a:lnTo>
                    <a:lnTo>
                      <a:pt x="372" y="510"/>
                    </a:lnTo>
                    <a:lnTo>
                      <a:pt x="334" y="556"/>
                    </a:lnTo>
                    <a:lnTo>
                      <a:pt x="294" y="600"/>
                    </a:lnTo>
                    <a:lnTo>
                      <a:pt x="250" y="642"/>
                    </a:lnTo>
                    <a:lnTo>
                      <a:pt x="208" y="680"/>
                    </a:lnTo>
                    <a:lnTo>
                      <a:pt x="164" y="716"/>
                    </a:lnTo>
                    <a:lnTo>
                      <a:pt x="122" y="750"/>
                    </a:lnTo>
                    <a:lnTo>
                      <a:pt x="122" y="750"/>
                    </a:lnTo>
                    <a:lnTo>
                      <a:pt x="112" y="758"/>
                    </a:lnTo>
                    <a:lnTo>
                      <a:pt x="108" y="770"/>
                    </a:lnTo>
                    <a:lnTo>
                      <a:pt x="104" y="782"/>
                    </a:lnTo>
                    <a:lnTo>
                      <a:pt x="104" y="798"/>
                    </a:lnTo>
                    <a:lnTo>
                      <a:pt x="106" y="814"/>
                    </a:lnTo>
                    <a:lnTo>
                      <a:pt x="108" y="830"/>
                    </a:lnTo>
                    <a:lnTo>
                      <a:pt x="116" y="864"/>
                    </a:lnTo>
                    <a:lnTo>
                      <a:pt x="122" y="894"/>
                    </a:lnTo>
                    <a:lnTo>
                      <a:pt x="124" y="910"/>
                    </a:lnTo>
                    <a:lnTo>
                      <a:pt x="124" y="922"/>
                    </a:lnTo>
                    <a:lnTo>
                      <a:pt x="124" y="934"/>
                    </a:lnTo>
                    <a:lnTo>
                      <a:pt x="118" y="942"/>
                    </a:lnTo>
                    <a:lnTo>
                      <a:pt x="112" y="948"/>
                    </a:lnTo>
                    <a:lnTo>
                      <a:pt x="100" y="952"/>
                    </a:lnTo>
                    <a:lnTo>
                      <a:pt x="100" y="952"/>
                    </a:lnTo>
                    <a:lnTo>
                      <a:pt x="74" y="952"/>
                    </a:lnTo>
                    <a:lnTo>
                      <a:pt x="50" y="952"/>
                    </a:lnTo>
                    <a:lnTo>
                      <a:pt x="50" y="952"/>
                    </a:lnTo>
                    <a:lnTo>
                      <a:pt x="24" y="950"/>
                    </a:lnTo>
                    <a:lnTo>
                      <a:pt x="0" y="944"/>
                    </a:lnTo>
                    <a:lnTo>
                      <a:pt x="114" y="974"/>
                    </a:lnTo>
                    <a:lnTo>
                      <a:pt x="114" y="974"/>
                    </a:lnTo>
                    <a:lnTo>
                      <a:pt x="138" y="980"/>
                    </a:lnTo>
                    <a:lnTo>
                      <a:pt x="164" y="982"/>
                    </a:lnTo>
                    <a:lnTo>
                      <a:pt x="164" y="982"/>
                    </a:lnTo>
                    <a:lnTo>
                      <a:pt x="188" y="984"/>
                    </a:lnTo>
                    <a:lnTo>
                      <a:pt x="214" y="982"/>
                    </a:lnTo>
                    <a:lnTo>
                      <a:pt x="214" y="982"/>
                    </a:lnTo>
                    <a:lnTo>
                      <a:pt x="240" y="978"/>
                    </a:lnTo>
                    <a:lnTo>
                      <a:pt x="266" y="972"/>
                    </a:lnTo>
                    <a:lnTo>
                      <a:pt x="266" y="972"/>
                    </a:lnTo>
                    <a:lnTo>
                      <a:pt x="292" y="964"/>
                    </a:lnTo>
                    <a:lnTo>
                      <a:pt x="316" y="954"/>
                    </a:lnTo>
                    <a:lnTo>
                      <a:pt x="316" y="954"/>
                    </a:lnTo>
                    <a:lnTo>
                      <a:pt x="326" y="950"/>
                    </a:lnTo>
                    <a:lnTo>
                      <a:pt x="326" y="950"/>
                    </a:lnTo>
                    <a:lnTo>
                      <a:pt x="336" y="944"/>
                    </a:lnTo>
                    <a:lnTo>
                      <a:pt x="336" y="944"/>
                    </a:lnTo>
                    <a:lnTo>
                      <a:pt x="344" y="940"/>
                    </a:lnTo>
                    <a:lnTo>
                      <a:pt x="344" y="940"/>
                    </a:lnTo>
                    <a:lnTo>
                      <a:pt x="354" y="936"/>
                    </a:lnTo>
                    <a:lnTo>
                      <a:pt x="354" y="936"/>
                    </a:lnTo>
                    <a:lnTo>
                      <a:pt x="360" y="932"/>
                    </a:lnTo>
                    <a:lnTo>
                      <a:pt x="360" y="932"/>
                    </a:lnTo>
                    <a:lnTo>
                      <a:pt x="368" y="926"/>
                    </a:lnTo>
                    <a:lnTo>
                      <a:pt x="368" y="926"/>
                    </a:lnTo>
                    <a:lnTo>
                      <a:pt x="374" y="922"/>
                    </a:lnTo>
                    <a:lnTo>
                      <a:pt x="374" y="922"/>
                    </a:lnTo>
                    <a:lnTo>
                      <a:pt x="382" y="918"/>
                    </a:lnTo>
                    <a:lnTo>
                      <a:pt x="382" y="918"/>
                    </a:lnTo>
                    <a:lnTo>
                      <a:pt x="388" y="914"/>
                    </a:lnTo>
                    <a:lnTo>
                      <a:pt x="388" y="914"/>
                    </a:lnTo>
                    <a:lnTo>
                      <a:pt x="394" y="910"/>
                    </a:lnTo>
                    <a:lnTo>
                      <a:pt x="394" y="910"/>
                    </a:lnTo>
                    <a:lnTo>
                      <a:pt x="400" y="906"/>
                    </a:lnTo>
                    <a:lnTo>
                      <a:pt x="400" y="906"/>
                    </a:lnTo>
                    <a:lnTo>
                      <a:pt x="406" y="900"/>
                    </a:lnTo>
                    <a:lnTo>
                      <a:pt x="406" y="900"/>
                    </a:lnTo>
                    <a:lnTo>
                      <a:pt x="410" y="896"/>
                    </a:lnTo>
                    <a:lnTo>
                      <a:pt x="410" y="896"/>
                    </a:lnTo>
                    <a:lnTo>
                      <a:pt x="416" y="892"/>
                    </a:lnTo>
                    <a:lnTo>
                      <a:pt x="416" y="892"/>
                    </a:lnTo>
                    <a:lnTo>
                      <a:pt x="422" y="888"/>
                    </a:lnTo>
                    <a:lnTo>
                      <a:pt x="422" y="888"/>
                    </a:lnTo>
                    <a:lnTo>
                      <a:pt x="426" y="884"/>
                    </a:lnTo>
                    <a:lnTo>
                      <a:pt x="426" y="884"/>
                    </a:lnTo>
                    <a:lnTo>
                      <a:pt x="432" y="880"/>
                    </a:lnTo>
                    <a:lnTo>
                      <a:pt x="432" y="880"/>
                    </a:lnTo>
                    <a:lnTo>
                      <a:pt x="436" y="874"/>
                    </a:lnTo>
                    <a:lnTo>
                      <a:pt x="436" y="874"/>
                    </a:lnTo>
                    <a:lnTo>
                      <a:pt x="440" y="870"/>
                    </a:lnTo>
                    <a:lnTo>
                      <a:pt x="440" y="870"/>
                    </a:lnTo>
                    <a:lnTo>
                      <a:pt x="446" y="866"/>
                    </a:lnTo>
                    <a:lnTo>
                      <a:pt x="446" y="866"/>
                    </a:lnTo>
                    <a:lnTo>
                      <a:pt x="450" y="862"/>
                    </a:lnTo>
                    <a:lnTo>
                      <a:pt x="450" y="862"/>
                    </a:lnTo>
                    <a:lnTo>
                      <a:pt x="454" y="858"/>
                    </a:lnTo>
                    <a:lnTo>
                      <a:pt x="454" y="858"/>
                    </a:lnTo>
                    <a:lnTo>
                      <a:pt x="458" y="854"/>
                    </a:lnTo>
                    <a:lnTo>
                      <a:pt x="458" y="854"/>
                    </a:lnTo>
                    <a:lnTo>
                      <a:pt x="464" y="848"/>
                    </a:lnTo>
                    <a:lnTo>
                      <a:pt x="464" y="848"/>
                    </a:lnTo>
                    <a:lnTo>
                      <a:pt x="468" y="844"/>
                    </a:lnTo>
                    <a:lnTo>
                      <a:pt x="468" y="844"/>
                    </a:lnTo>
                    <a:lnTo>
                      <a:pt x="472" y="840"/>
                    </a:lnTo>
                    <a:lnTo>
                      <a:pt x="472" y="840"/>
                    </a:lnTo>
                    <a:lnTo>
                      <a:pt x="476" y="836"/>
                    </a:lnTo>
                    <a:lnTo>
                      <a:pt x="476" y="836"/>
                    </a:lnTo>
                    <a:lnTo>
                      <a:pt x="480" y="832"/>
                    </a:lnTo>
                    <a:lnTo>
                      <a:pt x="480" y="832"/>
                    </a:lnTo>
                    <a:lnTo>
                      <a:pt x="484" y="826"/>
                    </a:lnTo>
                    <a:lnTo>
                      <a:pt x="484" y="826"/>
                    </a:lnTo>
                    <a:lnTo>
                      <a:pt x="488" y="822"/>
                    </a:lnTo>
                    <a:lnTo>
                      <a:pt x="488" y="822"/>
                    </a:lnTo>
                    <a:lnTo>
                      <a:pt x="492" y="818"/>
                    </a:lnTo>
                    <a:lnTo>
                      <a:pt x="492" y="818"/>
                    </a:lnTo>
                    <a:lnTo>
                      <a:pt x="494" y="812"/>
                    </a:lnTo>
                    <a:lnTo>
                      <a:pt x="494" y="812"/>
                    </a:lnTo>
                    <a:lnTo>
                      <a:pt x="498" y="808"/>
                    </a:lnTo>
                    <a:lnTo>
                      <a:pt x="498" y="808"/>
                    </a:lnTo>
                    <a:lnTo>
                      <a:pt x="502" y="804"/>
                    </a:lnTo>
                    <a:lnTo>
                      <a:pt x="502" y="804"/>
                    </a:lnTo>
                    <a:lnTo>
                      <a:pt x="506" y="800"/>
                    </a:lnTo>
                    <a:lnTo>
                      <a:pt x="506" y="800"/>
                    </a:lnTo>
                    <a:lnTo>
                      <a:pt x="510" y="794"/>
                    </a:lnTo>
                    <a:lnTo>
                      <a:pt x="510" y="794"/>
                    </a:lnTo>
                    <a:lnTo>
                      <a:pt x="512" y="790"/>
                    </a:lnTo>
                    <a:lnTo>
                      <a:pt x="512" y="790"/>
                    </a:lnTo>
                    <a:lnTo>
                      <a:pt x="516" y="784"/>
                    </a:lnTo>
                    <a:lnTo>
                      <a:pt x="516" y="784"/>
                    </a:lnTo>
                    <a:lnTo>
                      <a:pt x="520" y="780"/>
                    </a:lnTo>
                    <a:lnTo>
                      <a:pt x="520" y="780"/>
                    </a:lnTo>
                    <a:lnTo>
                      <a:pt x="524" y="774"/>
                    </a:lnTo>
                    <a:lnTo>
                      <a:pt x="524" y="774"/>
                    </a:lnTo>
                    <a:lnTo>
                      <a:pt x="526" y="770"/>
                    </a:lnTo>
                    <a:lnTo>
                      <a:pt x="526" y="770"/>
                    </a:lnTo>
                    <a:lnTo>
                      <a:pt x="530" y="764"/>
                    </a:lnTo>
                    <a:lnTo>
                      <a:pt x="530" y="764"/>
                    </a:lnTo>
                    <a:lnTo>
                      <a:pt x="534" y="760"/>
                    </a:lnTo>
                    <a:lnTo>
                      <a:pt x="534" y="760"/>
                    </a:lnTo>
                    <a:lnTo>
                      <a:pt x="536" y="754"/>
                    </a:lnTo>
                    <a:lnTo>
                      <a:pt x="536" y="754"/>
                    </a:lnTo>
                    <a:lnTo>
                      <a:pt x="540" y="750"/>
                    </a:lnTo>
                    <a:lnTo>
                      <a:pt x="540" y="750"/>
                    </a:lnTo>
                    <a:lnTo>
                      <a:pt x="542" y="744"/>
                    </a:lnTo>
                    <a:lnTo>
                      <a:pt x="542" y="744"/>
                    </a:lnTo>
                    <a:lnTo>
                      <a:pt x="546" y="740"/>
                    </a:lnTo>
                    <a:lnTo>
                      <a:pt x="546" y="740"/>
                    </a:lnTo>
                    <a:lnTo>
                      <a:pt x="550" y="734"/>
                    </a:lnTo>
                    <a:lnTo>
                      <a:pt x="550" y="734"/>
                    </a:lnTo>
                    <a:lnTo>
                      <a:pt x="552" y="728"/>
                    </a:lnTo>
                    <a:lnTo>
                      <a:pt x="552" y="728"/>
                    </a:lnTo>
                    <a:lnTo>
                      <a:pt x="556" y="722"/>
                    </a:lnTo>
                    <a:lnTo>
                      <a:pt x="556" y="722"/>
                    </a:lnTo>
                    <a:lnTo>
                      <a:pt x="558" y="718"/>
                    </a:lnTo>
                    <a:lnTo>
                      <a:pt x="558" y="718"/>
                    </a:lnTo>
                    <a:lnTo>
                      <a:pt x="562" y="712"/>
                    </a:lnTo>
                    <a:lnTo>
                      <a:pt x="562" y="712"/>
                    </a:lnTo>
                    <a:lnTo>
                      <a:pt x="564" y="706"/>
                    </a:lnTo>
                    <a:lnTo>
                      <a:pt x="564" y="706"/>
                    </a:lnTo>
                    <a:lnTo>
                      <a:pt x="568" y="700"/>
                    </a:lnTo>
                    <a:lnTo>
                      <a:pt x="568" y="700"/>
                    </a:lnTo>
                    <a:lnTo>
                      <a:pt x="570" y="694"/>
                    </a:lnTo>
                    <a:lnTo>
                      <a:pt x="570" y="694"/>
                    </a:lnTo>
                    <a:lnTo>
                      <a:pt x="574" y="688"/>
                    </a:lnTo>
                    <a:lnTo>
                      <a:pt x="574" y="688"/>
                    </a:lnTo>
                    <a:lnTo>
                      <a:pt x="576" y="682"/>
                    </a:lnTo>
                    <a:lnTo>
                      <a:pt x="576" y="682"/>
                    </a:lnTo>
                    <a:lnTo>
                      <a:pt x="580" y="676"/>
                    </a:lnTo>
                    <a:lnTo>
                      <a:pt x="580" y="676"/>
                    </a:lnTo>
                    <a:lnTo>
                      <a:pt x="582" y="670"/>
                    </a:lnTo>
                    <a:lnTo>
                      <a:pt x="582" y="670"/>
                    </a:lnTo>
                    <a:lnTo>
                      <a:pt x="584" y="662"/>
                    </a:lnTo>
                    <a:lnTo>
                      <a:pt x="584" y="662"/>
                    </a:lnTo>
                    <a:lnTo>
                      <a:pt x="588" y="656"/>
                    </a:lnTo>
                    <a:lnTo>
                      <a:pt x="588" y="656"/>
                    </a:lnTo>
                    <a:lnTo>
                      <a:pt x="590" y="648"/>
                    </a:lnTo>
                    <a:lnTo>
                      <a:pt x="590" y="648"/>
                    </a:lnTo>
                    <a:lnTo>
                      <a:pt x="594" y="642"/>
                    </a:lnTo>
                    <a:lnTo>
                      <a:pt x="594" y="642"/>
                    </a:lnTo>
                    <a:lnTo>
                      <a:pt x="596" y="634"/>
                    </a:lnTo>
                    <a:lnTo>
                      <a:pt x="596" y="632"/>
                    </a:lnTo>
                    <a:lnTo>
                      <a:pt x="598" y="630"/>
                    </a:lnTo>
                    <a:lnTo>
                      <a:pt x="598" y="628"/>
                    </a:lnTo>
                    <a:lnTo>
                      <a:pt x="598" y="626"/>
                    </a:lnTo>
                    <a:lnTo>
                      <a:pt x="598" y="626"/>
                    </a:lnTo>
                    <a:lnTo>
                      <a:pt x="600" y="620"/>
                    </a:lnTo>
                    <a:lnTo>
                      <a:pt x="600" y="620"/>
                    </a:lnTo>
                    <a:lnTo>
                      <a:pt x="602" y="614"/>
                    </a:lnTo>
                    <a:lnTo>
                      <a:pt x="602" y="614"/>
                    </a:lnTo>
                    <a:lnTo>
                      <a:pt x="604" y="608"/>
                    </a:lnTo>
                    <a:lnTo>
                      <a:pt x="604" y="608"/>
                    </a:lnTo>
                    <a:lnTo>
                      <a:pt x="606" y="604"/>
                    </a:lnTo>
                    <a:lnTo>
                      <a:pt x="606" y="604"/>
                    </a:lnTo>
                    <a:lnTo>
                      <a:pt x="610" y="594"/>
                    </a:lnTo>
                    <a:lnTo>
                      <a:pt x="610" y="594"/>
                    </a:lnTo>
                    <a:lnTo>
                      <a:pt x="612" y="584"/>
                    </a:lnTo>
                    <a:lnTo>
                      <a:pt x="612" y="584"/>
                    </a:lnTo>
                    <a:lnTo>
                      <a:pt x="614" y="576"/>
                    </a:lnTo>
                    <a:lnTo>
                      <a:pt x="614" y="576"/>
                    </a:lnTo>
                    <a:lnTo>
                      <a:pt x="618" y="566"/>
                    </a:lnTo>
                    <a:lnTo>
                      <a:pt x="618" y="566"/>
                    </a:lnTo>
                    <a:lnTo>
                      <a:pt x="620" y="556"/>
                    </a:lnTo>
                    <a:lnTo>
                      <a:pt x="620" y="556"/>
                    </a:lnTo>
                    <a:lnTo>
                      <a:pt x="622" y="544"/>
                    </a:lnTo>
                    <a:lnTo>
                      <a:pt x="622" y="544"/>
                    </a:lnTo>
                    <a:lnTo>
                      <a:pt x="624" y="532"/>
                    </a:lnTo>
                    <a:lnTo>
                      <a:pt x="624" y="532"/>
                    </a:lnTo>
                    <a:lnTo>
                      <a:pt x="626" y="522"/>
                    </a:lnTo>
                    <a:lnTo>
                      <a:pt x="626" y="522"/>
                    </a:lnTo>
                    <a:lnTo>
                      <a:pt x="630" y="500"/>
                    </a:lnTo>
                    <a:close/>
                  </a:path>
                </a:pathLst>
              </a:custGeom>
              <a:gradFill>
                <a:gsLst>
                  <a:gs pos="0">
                    <a:srgbClr val="B38800"/>
                  </a:gs>
                  <a:gs pos="48000">
                    <a:srgbClr val="FFC000"/>
                  </a:gs>
                  <a:gs pos="100000">
                    <a:srgbClr val="926F00"/>
                  </a:gs>
                </a:gsLst>
                <a:lin ang="18900000" scaled="0"/>
              </a:gradFill>
              <a:ln>
                <a:noFill/>
              </a:ln>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4" name="Freeform 188"/>
              <p:cNvSpPr>
                <a:spLocks noEditPoints="1"/>
              </p:cNvSpPr>
              <p:nvPr>
                <p:custDataLst>
                  <p:tags r:id="rId2"/>
                </p:custDataLst>
              </p:nvPr>
            </p:nvSpPr>
            <p:spPr bwMode="auto">
              <a:xfrm>
                <a:off x="3636717" y="3247056"/>
                <a:ext cx="673329" cy="968576"/>
              </a:xfrm>
              <a:custGeom>
                <a:avLst/>
                <a:gdLst>
                  <a:gd name="T0" fmla="*/ 526 w 634"/>
                  <a:gd name="T1" fmla="*/ 698 h 912"/>
                  <a:gd name="T2" fmla="*/ 532 w 634"/>
                  <a:gd name="T3" fmla="*/ 688 h 912"/>
                  <a:gd name="T4" fmla="*/ 538 w 634"/>
                  <a:gd name="T5" fmla="*/ 678 h 912"/>
                  <a:gd name="T6" fmla="*/ 254 w 634"/>
                  <a:gd name="T7" fmla="*/ 568 h 912"/>
                  <a:gd name="T8" fmla="*/ 108 w 634"/>
                  <a:gd name="T9" fmla="*/ 692 h 912"/>
                  <a:gd name="T10" fmla="*/ 422 w 634"/>
                  <a:gd name="T11" fmla="*/ 818 h 912"/>
                  <a:gd name="T12" fmla="*/ 432 w 634"/>
                  <a:gd name="T13" fmla="*/ 808 h 912"/>
                  <a:gd name="T14" fmla="*/ 442 w 634"/>
                  <a:gd name="T15" fmla="*/ 800 h 912"/>
                  <a:gd name="T16" fmla="*/ 124 w 634"/>
                  <a:gd name="T17" fmla="*/ 678 h 912"/>
                  <a:gd name="T18" fmla="*/ 476 w 634"/>
                  <a:gd name="T19" fmla="*/ 764 h 912"/>
                  <a:gd name="T20" fmla="*/ 484 w 634"/>
                  <a:gd name="T21" fmla="*/ 756 h 912"/>
                  <a:gd name="T22" fmla="*/ 490 w 634"/>
                  <a:gd name="T23" fmla="*/ 746 h 912"/>
                  <a:gd name="T24" fmla="*/ 192 w 634"/>
                  <a:gd name="T25" fmla="*/ 624 h 912"/>
                  <a:gd name="T26" fmla="*/ 46 w 634"/>
                  <a:gd name="T27" fmla="*/ 886 h 912"/>
                  <a:gd name="T28" fmla="*/ 100 w 634"/>
                  <a:gd name="T29" fmla="*/ 906 h 912"/>
                  <a:gd name="T30" fmla="*/ 288 w 634"/>
                  <a:gd name="T31" fmla="*/ 536 h 912"/>
                  <a:gd name="T32" fmla="*/ 564 w 634"/>
                  <a:gd name="T33" fmla="*/ 634 h 912"/>
                  <a:gd name="T34" fmla="*/ 570 w 634"/>
                  <a:gd name="T35" fmla="*/ 622 h 912"/>
                  <a:gd name="T36" fmla="*/ 310 w 634"/>
                  <a:gd name="T37" fmla="*/ 510 h 912"/>
                  <a:gd name="T38" fmla="*/ 344 w 634"/>
                  <a:gd name="T39" fmla="*/ 872 h 912"/>
                  <a:gd name="T40" fmla="*/ 356 w 634"/>
                  <a:gd name="T41" fmla="*/ 866 h 912"/>
                  <a:gd name="T42" fmla="*/ 370 w 634"/>
                  <a:gd name="T43" fmla="*/ 856 h 912"/>
                  <a:gd name="T44" fmla="*/ 102 w 634"/>
                  <a:gd name="T45" fmla="*/ 748 h 912"/>
                  <a:gd name="T46" fmla="*/ 238 w 634"/>
                  <a:gd name="T47" fmla="*/ 912 h 912"/>
                  <a:gd name="T48" fmla="*/ 120 w 634"/>
                  <a:gd name="T49" fmla="*/ 834 h 912"/>
                  <a:gd name="T50" fmla="*/ 632 w 634"/>
                  <a:gd name="T51" fmla="*/ 328 h 912"/>
                  <a:gd name="T52" fmla="*/ 472 w 634"/>
                  <a:gd name="T53" fmla="*/ 256 h 912"/>
                  <a:gd name="T54" fmla="*/ 634 w 634"/>
                  <a:gd name="T55" fmla="*/ 342 h 912"/>
                  <a:gd name="T56" fmla="*/ 606 w 634"/>
                  <a:gd name="T57" fmla="*/ 182 h 912"/>
                  <a:gd name="T58" fmla="*/ 604 w 634"/>
                  <a:gd name="T59" fmla="*/ 170 h 912"/>
                  <a:gd name="T60" fmla="*/ 598 w 634"/>
                  <a:gd name="T61" fmla="*/ 156 h 912"/>
                  <a:gd name="T62" fmla="*/ 592 w 634"/>
                  <a:gd name="T63" fmla="*/ 144 h 912"/>
                  <a:gd name="T64" fmla="*/ 484 w 634"/>
                  <a:gd name="T65" fmla="*/ 118 h 912"/>
                  <a:gd name="T66" fmla="*/ 558 w 634"/>
                  <a:gd name="T67" fmla="*/ 84 h 912"/>
                  <a:gd name="T68" fmla="*/ 552 w 634"/>
                  <a:gd name="T69" fmla="*/ 76 h 912"/>
                  <a:gd name="T70" fmla="*/ 546 w 634"/>
                  <a:gd name="T71" fmla="*/ 68 h 912"/>
                  <a:gd name="T72" fmla="*/ 540 w 634"/>
                  <a:gd name="T73" fmla="*/ 60 h 912"/>
                  <a:gd name="T74" fmla="*/ 534 w 634"/>
                  <a:gd name="T75" fmla="*/ 52 h 912"/>
                  <a:gd name="T76" fmla="*/ 526 w 634"/>
                  <a:gd name="T77" fmla="*/ 46 h 912"/>
                  <a:gd name="T78" fmla="*/ 520 w 634"/>
                  <a:gd name="T79" fmla="*/ 40 h 912"/>
                  <a:gd name="T80" fmla="*/ 424 w 634"/>
                  <a:gd name="T81" fmla="*/ 0 h 912"/>
                  <a:gd name="T82" fmla="*/ 482 w 634"/>
                  <a:gd name="T83" fmla="*/ 214 h 912"/>
                  <a:gd name="T84" fmla="*/ 626 w 634"/>
                  <a:gd name="T85" fmla="*/ 254 h 912"/>
                  <a:gd name="T86" fmla="*/ 486 w 634"/>
                  <a:gd name="T87" fmla="*/ 182 h 912"/>
                  <a:gd name="T88" fmla="*/ 592 w 634"/>
                  <a:gd name="T89" fmla="*/ 570 h 912"/>
                  <a:gd name="T90" fmla="*/ 594 w 634"/>
                  <a:gd name="T91" fmla="*/ 562 h 912"/>
                  <a:gd name="T92" fmla="*/ 596 w 634"/>
                  <a:gd name="T93" fmla="*/ 554 h 912"/>
                  <a:gd name="T94" fmla="*/ 602 w 634"/>
                  <a:gd name="T95" fmla="*/ 542 h 912"/>
                  <a:gd name="T96" fmla="*/ 388 w 634"/>
                  <a:gd name="T97" fmla="*/ 416 h 912"/>
                  <a:gd name="T98" fmla="*/ 616 w 634"/>
                  <a:gd name="T99" fmla="*/ 490 h 912"/>
                  <a:gd name="T100" fmla="*/ 406 w 634"/>
                  <a:gd name="T101" fmla="*/ 390 h 912"/>
                  <a:gd name="T102" fmla="*/ 628 w 634"/>
                  <a:gd name="T103" fmla="*/ 426 h 912"/>
                  <a:gd name="T104" fmla="*/ 632 w 634"/>
                  <a:gd name="T105" fmla="*/ 394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4" h="912">
                    <a:moveTo>
                      <a:pt x="228" y="592"/>
                    </a:moveTo>
                    <a:lnTo>
                      <a:pt x="524" y="702"/>
                    </a:lnTo>
                    <a:lnTo>
                      <a:pt x="524" y="702"/>
                    </a:lnTo>
                    <a:lnTo>
                      <a:pt x="526" y="698"/>
                    </a:lnTo>
                    <a:lnTo>
                      <a:pt x="526" y="698"/>
                    </a:lnTo>
                    <a:lnTo>
                      <a:pt x="530" y="694"/>
                    </a:lnTo>
                    <a:lnTo>
                      <a:pt x="530" y="694"/>
                    </a:lnTo>
                    <a:lnTo>
                      <a:pt x="532" y="688"/>
                    </a:lnTo>
                    <a:lnTo>
                      <a:pt x="532" y="688"/>
                    </a:lnTo>
                    <a:lnTo>
                      <a:pt x="536" y="684"/>
                    </a:lnTo>
                    <a:lnTo>
                      <a:pt x="536" y="684"/>
                    </a:lnTo>
                    <a:lnTo>
                      <a:pt x="538" y="678"/>
                    </a:lnTo>
                    <a:lnTo>
                      <a:pt x="538" y="678"/>
                    </a:lnTo>
                    <a:lnTo>
                      <a:pt x="540" y="676"/>
                    </a:lnTo>
                    <a:lnTo>
                      <a:pt x="254" y="568"/>
                    </a:lnTo>
                    <a:lnTo>
                      <a:pt x="254" y="568"/>
                    </a:lnTo>
                    <a:lnTo>
                      <a:pt x="228" y="592"/>
                    </a:lnTo>
                    <a:close/>
                    <a:moveTo>
                      <a:pt x="118" y="684"/>
                    </a:moveTo>
                    <a:lnTo>
                      <a:pt x="118" y="684"/>
                    </a:lnTo>
                    <a:lnTo>
                      <a:pt x="108" y="692"/>
                    </a:lnTo>
                    <a:lnTo>
                      <a:pt x="104" y="702"/>
                    </a:lnTo>
                    <a:lnTo>
                      <a:pt x="418" y="820"/>
                    </a:lnTo>
                    <a:lnTo>
                      <a:pt x="418" y="820"/>
                    </a:lnTo>
                    <a:lnTo>
                      <a:pt x="422" y="818"/>
                    </a:lnTo>
                    <a:lnTo>
                      <a:pt x="422" y="818"/>
                    </a:lnTo>
                    <a:lnTo>
                      <a:pt x="428" y="814"/>
                    </a:lnTo>
                    <a:lnTo>
                      <a:pt x="428" y="814"/>
                    </a:lnTo>
                    <a:lnTo>
                      <a:pt x="432" y="808"/>
                    </a:lnTo>
                    <a:lnTo>
                      <a:pt x="432" y="808"/>
                    </a:lnTo>
                    <a:lnTo>
                      <a:pt x="436" y="804"/>
                    </a:lnTo>
                    <a:lnTo>
                      <a:pt x="436" y="804"/>
                    </a:lnTo>
                    <a:lnTo>
                      <a:pt x="442" y="800"/>
                    </a:lnTo>
                    <a:lnTo>
                      <a:pt x="442" y="800"/>
                    </a:lnTo>
                    <a:lnTo>
                      <a:pt x="444" y="798"/>
                    </a:lnTo>
                    <a:lnTo>
                      <a:pt x="124" y="678"/>
                    </a:lnTo>
                    <a:lnTo>
                      <a:pt x="124" y="678"/>
                    </a:lnTo>
                    <a:lnTo>
                      <a:pt x="118" y="684"/>
                    </a:lnTo>
                    <a:close/>
                    <a:moveTo>
                      <a:pt x="164" y="646"/>
                    </a:moveTo>
                    <a:lnTo>
                      <a:pt x="476" y="764"/>
                    </a:lnTo>
                    <a:lnTo>
                      <a:pt x="476" y="764"/>
                    </a:lnTo>
                    <a:lnTo>
                      <a:pt x="480" y="760"/>
                    </a:lnTo>
                    <a:lnTo>
                      <a:pt x="480" y="760"/>
                    </a:lnTo>
                    <a:lnTo>
                      <a:pt x="484" y="756"/>
                    </a:lnTo>
                    <a:lnTo>
                      <a:pt x="484" y="756"/>
                    </a:lnTo>
                    <a:lnTo>
                      <a:pt x="488" y="752"/>
                    </a:lnTo>
                    <a:lnTo>
                      <a:pt x="488" y="752"/>
                    </a:lnTo>
                    <a:lnTo>
                      <a:pt x="490" y="746"/>
                    </a:lnTo>
                    <a:lnTo>
                      <a:pt x="490" y="746"/>
                    </a:lnTo>
                    <a:lnTo>
                      <a:pt x="494" y="742"/>
                    </a:lnTo>
                    <a:lnTo>
                      <a:pt x="494" y="742"/>
                    </a:lnTo>
                    <a:lnTo>
                      <a:pt x="498" y="738"/>
                    </a:lnTo>
                    <a:lnTo>
                      <a:pt x="192" y="624"/>
                    </a:lnTo>
                    <a:lnTo>
                      <a:pt x="192" y="624"/>
                    </a:lnTo>
                    <a:lnTo>
                      <a:pt x="164" y="646"/>
                    </a:lnTo>
                    <a:close/>
                    <a:moveTo>
                      <a:pt x="46" y="886"/>
                    </a:moveTo>
                    <a:lnTo>
                      <a:pt x="46" y="886"/>
                    </a:lnTo>
                    <a:lnTo>
                      <a:pt x="22" y="884"/>
                    </a:lnTo>
                    <a:lnTo>
                      <a:pt x="0" y="880"/>
                    </a:lnTo>
                    <a:lnTo>
                      <a:pt x="0" y="880"/>
                    </a:lnTo>
                    <a:lnTo>
                      <a:pt x="100" y="906"/>
                    </a:lnTo>
                    <a:lnTo>
                      <a:pt x="48" y="886"/>
                    </a:lnTo>
                    <a:lnTo>
                      <a:pt x="48" y="886"/>
                    </a:lnTo>
                    <a:lnTo>
                      <a:pt x="46" y="886"/>
                    </a:lnTo>
                    <a:close/>
                    <a:moveTo>
                      <a:pt x="288" y="536"/>
                    </a:moveTo>
                    <a:lnTo>
                      <a:pt x="562" y="638"/>
                    </a:lnTo>
                    <a:lnTo>
                      <a:pt x="562" y="638"/>
                    </a:lnTo>
                    <a:lnTo>
                      <a:pt x="564" y="634"/>
                    </a:lnTo>
                    <a:lnTo>
                      <a:pt x="564" y="634"/>
                    </a:lnTo>
                    <a:lnTo>
                      <a:pt x="566" y="628"/>
                    </a:lnTo>
                    <a:lnTo>
                      <a:pt x="566" y="628"/>
                    </a:lnTo>
                    <a:lnTo>
                      <a:pt x="570" y="622"/>
                    </a:lnTo>
                    <a:lnTo>
                      <a:pt x="570" y="622"/>
                    </a:lnTo>
                    <a:lnTo>
                      <a:pt x="572" y="616"/>
                    </a:lnTo>
                    <a:lnTo>
                      <a:pt x="572" y="616"/>
                    </a:lnTo>
                    <a:lnTo>
                      <a:pt x="574" y="610"/>
                    </a:lnTo>
                    <a:lnTo>
                      <a:pt x="310" y="510"/>
                    </a:lnTo>
                    <a:lnTo>
                      <a:pt x="310" y="510"/>
                    </a:lnTo>
                    <a:lnTo>
                      <a:pt x="288" y="536"/>
                    </a:lnTo>
                    <a:close/>
                    <a:moveTo>
                      <a:pt x="108" y="784"/>
                    </a:moveTo>
                    <a:lnTo>
                      <a:pt x="344" y="872"/>
                    </a:lnTo>
                    <a:lnTo>
                      <a:pt x="344" y="872"/>
                    </a:lnTo>
                    <a:lnTo>
                      <a:pt x="350" y="870"/>
                    </a:lnTo>
                    <a:lnTo>
                      <a:pt x="350" y="870"/>
                    </a:lnTo>
                    <a:lnTo>
                      <a:pt x="356" y="866"/>
                    </a:lnTo>
                    <a:lnTo>
                      <a:pt x="356" y="866"/>
                    </a:lnTo>
                    <a:lnTo>
                      <a:pt x="364" y="860"/>
                    </a:lnTo>
                    <a:lnTo>
                      <a:pt x="364" y="860"/>
                    </a:lnTo>
                    <a:lnTo>
                      <a:pt x="370" y="856"/>
                    </a:lnTo>
                    <a:lnTo>
                      <a:pt x="370" y="856"/>
                    </a:lnTo>
                    <a:lnTo>
                      <a:pt x="378" y="852"/>
                    </a:lnTo>
                    <a:lnTo>
                      <a:pt x="102" y="748"/>
                    </a:lnTo>
                    <a:lnTo>
                      <a:pt x="102" y="748"/>
                    </a:lnTo>
                    <a:lnTo>
                      <a:pt x="108" y="784"/>
                    </a:lnTo>
                    <a:close/>
                    <a:moveTo>
                      <a:pt x="120" y="866"/>
                    </a:moveTo>
                    <a:lnTo>
                      <a:pt x="238" y="912"/>
                    </a:lnTo>
                    <a:lnTo>
                      <a:pt x="238" y="912"/>
                    </a:lnTo>
                    <a:lnTo>
                      <a:pt x="262" y="906"/>
                    </a:lnTo>
                    <a:lnTo>
                      <a:pt x="262" y="906"/>
                    </a:lnTo>
                    <a:lnTo>
                      <a:pt x="288" y="898"/>
                    </a:lnTo>
                    <a:lnTo>
                      <a:pt x="120" y="834"/>
                    </a:lnTo>
                    <a:lnTo>
                      <a:pt x="120" y="834"/>
                    </a:lnTo>
                    <a:lnTo>
                      <a:pt x="120" y="852"/>
                    </a:lnTo>
                    <a:lnTo>
                      <a:pt x="120" y="866"/>
                    </a:lnTo>
                    <a:close/>
                    <a:moveTo>
                      <a:pt x="632" y="328"/>
                    </a:moveTo>
                    <a:lnTo>
                      <a:pt x="632" y="328"/>
                    </a:lnTo>
                    <a:lnTo>
                      <a:pt x="632" y="316"/>
                    </a:lnTo>
                    <a:lnTo>
                      <a:pt x="472" y="256"/>
                    </a:lnTo>
                    <a:lnTo>
                      <a:pt x="472" y="256"/>
                    </a:lnTo>
                    <a:lnTo>
                      <a:pt x="462" y="284"/>
                    </a:lnTo>
                    <a:lnTo>
                      <a:pt x="632" y="348"/>
                    </a:lnTo>
                    <a:lnTo>
                      <a:pt x="632" y="348"/>
                    </a:lnTo>
                    <a:lnTo>
                      <a:pt x="634" y="342"/>
                    </a:lnTo>
                    <a:lnTo>
                      <a:pt x="634" y="342"/>
                    </a:lnTo>
                    <a:lnTo>
                      <a:pt x="632" y="328"/>
                    </a:lnTo>
                    <a:close/>
                    <a:moveTo>
                      <a:pt x="486" y="136"/>
                    </a:moveTo>
                    <a:lnTo>
                      <a:pt x="606" y="182"/>
                    </a:lnTo>
                    <a:lnTo>
                      <a:pt x="606" y="182"/>
                    </a:lnTo>
                    <a:lnTo>
                      <a:pt x="606" y="178"/>
                    </a:lnTo>
                    <a:lnTo>
                      <a:pt x="606" y="178"/>
                    </a:lnTo>
                    <a:lnTo>
                      <a:pt x="604" y="170"/>
                    </a:lnTo>
                    <a:lnTo>
                      <a:pt x="604" y="170"/>
                    </a:lnTo>
                    <a:lnTo>
                      <a:pt x="600" y="164"/>
                    </a:lnTo>
                    <a:lnTo>
                      <a:pt x="600" y="164"/>
                    </a:lnTo>
                    <a:lnTo>
                      <a:pt x="598" y="156"/>
                    </a:lnTo>
                    <a:lnTo>
                      <a:pt x="598" y="156"/>
                    </a:lnTo>
                    <a:lnTo>
                      <a:pt x="594" y="150"/>
                    </a:lnTo>
                    <a:lnTo>
                      <a:pt x="594" y="150"/>
                    </a:lnTo>
                    <a:lnTo>
                      <a:pt x="592" y="144"/>
                    </a:lnTo>
                    <a:lnTo>
                      <a:pt x="592" y="142"/>
                    </a:lnTo>
                    <a:lnTo>
                      <a:pt x="480" y="100"/>
                    </a:lnTo>
                    <a:lnTo>
                      <a:pt x="480" y="100"/>
                    </a:lnTo>
                    <a:lnTo>
                      <a:pt x="484" y="118"/>
                    </a:lnTo>
                    <a:lnTo>
                      <a:pt x="486" y="136"/>
                    </a:lnTo>
                    <a:close/>
                    <a:moveTo>
                      <a:pt x="558" y="84"/>
                    </a:moveTo>
                    <a:lnTo>
                      <a:pt x="558" y="84"/>
                    </a:lnTo>
                    <a:lnTo>
                      <a:pt x="558" y="84"/>
                    </a:lnTo>
                    <a:lnTo>
                      <a:pt x="554" y="80"/>
                    </a:lnTo>
                    <a:lnTo>
                      <a:pt x="554" y="80"/>
                    </a:lnTo>
                    <a:lnTo>
                      <a:pt x="552" y="76"/>
                    </a:lnTo>
                    <a:lnTo>
                      <a:pt x="552" y="76"/>
                    </a:lnTo>
                    <a:lnTo>
                      <a:pt x="548" y="72"/>
                    </a:lnTo>
                    <a:lnTo>
                      <a:pt x="548" y="72"/>
                    </a:lnTo>
                    <a:lnTo>
                      <a:pt x="546" y="68"/>
                    </a:lnTo>
                    <a:lnTo>
                      <a:pt x="546" y="68"/>
                    </a:lnTo>
                    <a:lnTo>
                      <a:pt x="542" y="64"/>
                    </a:lnTo>
                    <a:lnTo>
                      <a:pt x="542" y="64"/>
                    </a:lnTo>
                    <a:lnTo>
                      <a:pt x="540" y="60"/>
                    </a:lnTo>
                    <a:lnTo>
                      <a:pt x="540" y="60"/>
                    </a:lnTo>
                    <a:lnTo>
                      <a:pt x="536" y="56"/>
                    </a:lnTo>
                    <a:lnTo>
                      <a:pt x="536" y="56"/>
                    </a:lnTo>
                    <a:lnTo>
                      <a:pt x="534" y="52"/>
                    </a:lnTo>
                    <a:lnTo>
                      <a:pt x="534" y="52"/>
                    </a:lnTo>
                    <a:lnTo>
                      <a:pt x="530" y="50"/>
                    </a:lnTo>
                    <a:lnTo>
                      <a:pt x="530" y="50"/>
                    </a:lnTo>
                    <a:lnTo>
                      <a:pt x="526" y="46"/>
                    </a:lnTo>
                    <a:lnTo>
                      <a:pt x="526" y="46"/>
                    </a:lnTo>
                    <a:lnTo>
                      <a:pt x="524" y="42"/>
                    </a:lnTo>
                    <a:lnTo>
                      <a:pt x="524" y="42"/>
                    </a:lnTo>
                    <a:lnTo>
                      <a:pt x="520" y="40"/>
                    </a:lnTo>
                    <a:lnTo>
                      <a:pt x="520" y="40"/>
                    </a:lnTo>
                    <a:lnTo>
                      <a:pt x="518" y="36"/>
                    </a:lnTo>
                    <a:lnTo>
                      <a:pt x="516" y="36"/>
                    </a:lnTo>
                    <a:lnTo>
                      <a:pt x="424" y="0"/>
                    </a:lnTo>
                    <a:lnTo>
                      <a:pt x="424" y="0"/>
                    </a:lnTo>
                    <a:lnTo>
                      <a:pt x="442" y="22"/>
                    </a:lnTo>
                    <a:lnTo>
                      <a:pt x="456" y="46"/>
                    </a:lnTo>
                    <a:lnTo>
                      <a:pt x="558" y="84"/>
                    </a:lnTo>
                    <a:close/>
                    <a:moveTo>
                      <a:pt x="482" y="214"/>
                    </a:moveTo>
                    <a:lnTo>
                      <a:pt x="628" y="268"/>
                    </a:lnTo>
                    <a:lnTo>
                      <a:pt x="628" y="268"/>
                    </a:lnTo>
                    <a:lnTo>
                      <a:pt x="626" y="254"/>
                    </a:lnTo>
                    <a:lnTo>
                      <a:pt x="626" y="254"/>
                    </a:lnTo>
                    <a:lnTo>
                      <a:pt x="622" y="236"/>
                    </a:lnTo>
                    <a:lnTo>
                      <a:pt x="622" y="236"/>
                    </a:lnTo>
                    <a:lnTo>
                      <a:pt x="622" y="232"/>
                    </a:lnTo>
                    <a:lnTo>
                      <a:pt x="486" y="182"/>
                    </a:lnTo>
                    <a:lnTo>
                      <a:pt x="486" y="182"/>
                    </a:lnTo>
                    <a:lnTo>
                      <a:pt x="482" y="214"/>
                    </a:lnTo>
                    <a:close/>
                    <a:moveTo>
                      <a:pt x="342" y="476"/>
                    </a:moveTo>
                    <a:lnTo>
                      <a:pt x="592" y="570"/>
                    </a:lnTo>
                    <a:lnTo>
                      <a:pt x="592" y="568"/>
                    </a:lnTo>
                    <a:lnTo>
                      <a:pt x="592" y="566"/>
                    </a:lnTo>
                    <a:lnTo>
                      <a:pt x="594" y="564"/>
                    </a:lnTo>
                    <a:lnTo>
                      <a:pt x="594" y="562"/>
                    </a:lnTo>
                    <a:lnTo>
                      <a:pt x="594" y="560"/>
                    </a:lnTo>
                    <a:lnTo>
                      <a:pt x="594" y="560"/>
                    </a:lnTo>
                    <a:lnTo>
                      <a:pt x="596" y="554"/>
                    </a:lnTo>
                    <a:lnTo>
                      <a:pt x="596" y="554"/>
                    </a:lnTo>
                    <a:lnTo>
                      <a:pt x="598" y="548"/>
                    </a:lnTo>
                    <a:lnTo>
                      <a:pt x="598" y="548"/>
                    </a:lnTo>
                    <a:lnTo>
                      <a:pt x="600" y="542"/>
                    </a:lnTo>
                    <a:lnTo>
                      <a:pt x="602" y="542"/>
                    </a:lnTo>
                    <a:lnTo>
                      <a:pt x="362" y="452"/>
                    </a:lnTo>
                    <a:lnTo>
                      <a:pt x="362" y="452"/>
                    </a:lnTo>
                    <a:lnTo>
                      <a:pt x="342" y="476"/>
                    </a:lnTo>
                    <a:close/>
                    <a:moveTo>
                      <a:pt x="388" y="416"/>
                    </a:moveTo>
                    <a:lnTo>
                      <a:pt x="614" y="500"/>
                    </a:lnTo>
                    <a:lnTo>
                      <a:pt x="614" y="500"/>
                    </a:lnTo>
                    <a:lnTo>
                      <a:pt x="616" y="490"/>
                    </a:lnTo>
                    <a:lnTo>
                      <a:pt x="616" y="490"/>
                    </a:lnTo>
                    <a:lnTo>
                      <a:pt x="618" y="478"/>
                    </a:lnTo>
                    <a:lnTo>
                      <a:pt x="618" y="478"/>
                    </a:lnTo>
                    <a:lnTo>
                      <a:pt x="620" y="470"/>
                    </a:lnTo>
                    <a:lnTo>
                      <a:pt x="406" y="390"/>
                    </a:lnTo>
                    <a:lnTo>
                      <a:pt x="406" y="390"/>
                    </a:lnTo>
                    <a:lnTo>
                      <a:pt x="388" y="416"/>
                    </a:lnTo>
                    <a:close/>
                    <a:moveTo>
                      <a:pt x="430" y="352"/>
                    </a:moveTo>
                    <a:lnTo>
                      <a:pt x="628" y="426"/>
                    </a:lnTo>
                    <a:lnTo>
                      <a:pt x="628" y="426"/>
                    </a:lnTo>
                    <a:lnTo>
                      <a:pt x="630" y="414"/>
                    </a:lnTo>
                    <a:lnTo>
                      <a:pt x="630" y="414"/>
                    </a:lnTo>
                    <a:lnTo>
                      <a:pt x="632" y="394"/>
                    </a:lnTo>
                    <a:lnTo>
                      <a:pt x="444" y="324"/>
                    </a:lnTo>
                    <a:lnTo>
                      <a:pt x="444" y="324"/>
                    </a:lnTo>
                    <a:lnTo>
                      <a:pt x="430" y="352"/>
                    </a:lnTo>
                    <a:close/>
                  </a:path>
                </a:pathLst>
              </a:custGeom>
              <a:gradFill>
                <a:gsLst>
                  <a:gs pos="0">
                    <a:srgbClr val="FFF47C">
                      <a:alpha val="44000"/>
                    </a:srgbClr>
                  </a:gs>
                  <a:gs pos="100000">
                    <a:srgbClr val="FFF47C">
                      <a:alpha val="29000"/>
                    </a:srgbClr>
                  </a:gs>
                </a:gsLst>
                <a:lin ang="18900000" scaled="0"/>
              </a:gradFill>
              <a:ln>
                <a:noFill/>
              </a:ln>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5" name="Freeform 189"/>
              <p:cNvSpPr/>
              <p:nvPr>
                <p:custDataLst>
                  <p:tags r:id="rId3"/>
                </p:custDataLst>
              </p:nvPr>
            </p:nvSpPr>
            <p:spPr bwMode="auto">
              <a:xfrm>
                <a:off x="3878860" y="3850292"/>
                <a:ext cx="331354" cy="142313"/>
              </a:xfrm>
              <a:custGeom>
                <a:avLst/>
                <a:gdLst>
                  <a:gd name="T0" fmla="*/ 0 w 312"/>
                  <a:gd name="T1" fmla="*/ 24 h 134"/>
                  <a:gd name="T2" fmla="*/ 296 w 312"/>
                  <a:gd name="T3" fmla="*/ 134 h 134"/>
                  <a:gd name="T4" fmla="*/ 296 w 312"/>
                  <a:gd name="T5" fmla="*/ 134 h 134"/>
                  <a:gd name="T6" fmla="*/ 298 w 312"/>
                  <a:gd name="T7" fmla="*/ 130 h 134"/>
                  <a:gd name="T8" fmla="*/ 298 w 312"/>
                  <a:gd name="T9" fmla="*/ 130 h 134"/>
                  <a:gd name="T10" fmla="*/ 302 w 312"/>
                  <a:gd name="T11" fmla="*/ 126 h 134"/>
                  <a:gd name="T12" fmla="*/ 302 w 312"/>
                  <a:gd name="T13" fmla="*/ 126 h 134"/>
                  <a:gd name="T14" fmla="*/ 304 w 312"/>
                  <a:gd name="T15" fmla="*/ 120 h 134"/>
                  <a:gd name="T16" fmla="*/ 304 w 312"/>
                  <a:gd name="T17" fmla="*/ 120 h 134"/>
                  <a:gd name="T18" fmla="*/ 308 w 312"/>
                  <a:gd name="T19" fmla="*/ 116 h 134"/>
                  <a:gd name="T20" fmla="*/ 308 w 312"/>
                  <a:gd name="T21" fmla="*/ 116 h 134"/>
                  <a:gd name="T22" fmla="*/ 310 w 312"/>
                  <a:gd name="T23" fmla="*/ 110 h 134"/>
                  <a:gd name="T24" fmla="*/ 310 w 312"/>
                  <a:gd name="T25" fmla="*/ 110 h 134"/>
                  <a:gd name="T26" fmla="*/ 312 w 312"/>
                  <a:gd name="T27" fmla="*/ 108 h 134"/>
                  <a:gd name="T28" fmla="*/ 26 w 312"/>
                  <a:gd name="T29" fmla="*/ 0 h 134"/>
                  <a:gd name="T30" fmla="*/ 26 w 312"/>
                  <a:gd name="T31" fmla="*/ 0 h 134"/>
                  <a:gd name="T32" fmla="*/ 0 w 312"/>
                  <a:gd name="T33" fmla="*/ 2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2" h="134">
                    <a:moveTo>
                      <a:pt x="0" y="24"/>
                    </a:moveTo>
                    <a:lnTo>
                      <a:pt x="296" y="134"/>
                    </a:lnTo>
                    <a:lnTo>
                      <a:pt x="296" y="134"/>
                    </a:lnTo>
                    <a:lnTo>
                      <a:pt x="298" y="130"/>
                    </a:lnTo>
                    <a:lnTo>
                      <a:pt x="298" y="130"/>
                    </a:lnTo>
                    <a:lnTo>
                      <a:pt x="302" y="126"/>
                    </a:lnTo>
                    <a:lnTo>
                      <a:pt x="302" y="126"/>
                    </a:lnTo>
                    <a:lnTo>
                      <a:pt x="304" y="120"/>
                    </a:lnTo>
                    <a:lnTo>
                      <a:pt x="304" y="120"/>
                    </a:lnTo>
                    <a:lnTo>
                      <a:pt x="308" y="116"/>
                    </a:lnTo>
                    <a:lnTo>
                      <a:pt x="308" y="116"/>
                    </a:lnTo>
                    <a:lnTo>
                      <a:pt x="310" y="110"/>
                    </a:lnTo>
                    <a:lnTo>
                      <a:pt x="310" y="110"/>
                    </a:lnTo>
                    <a:lnTo>
                      <a:pt x="312" y="108"/>
                    </a:lnTo>
                    <a:lnTo>
                      <a:pt x="26" y="0"/>
                    </a:lnTo>
                    <a:lnTo>
                      <a:pt x="26" y="0"/>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6" name="Freeform 190"/>
              <p:cNvSpPr/>
              <p:nvPr>
                <p:custDataLst>
                  <p:tags r:id="rId4"/>
                </p:custDataLst>
              </p:nvPr>
            </p:nvSpPr>
            <p:spPr bwMode="auto">
              <a:xfrm>
                <a:off x="3747168" y="3967116"/>
                <a:ext cx="361091" cy="150808"/>
              </a:xfrm>
              <a:custGeom>
                <a:avLst/>
                <a:gdLst>
                  <a:gd name="T0" fmla="*/ 14 w 340"/>
                  <a:gd name="T1" fmla="*/ 6 h 142"/>
                  <a:gd name="T2" fmla="*/ 14 w 340"/>
                  <a:gd name="T3" fmla="*/ 6 h 142"/>
                  <a:gd name="T4" fmla="*/ 4 w 340"/>
                  <a:gd name="T5" fmla="*/ 14 h 142"/>
                  <a:gd name="T6" fmla="*/ 0 w 340"/>
                  <a:gd name="T7" fmla="*/ 24 h 142"/>
                  <a:gd name="T8" fmla="*/ 314 w 340"/>
                  <a:gd name="T9" fmla="*/ 142 h 142"/>
                  <a:gd name="T10" fmla="*/ 314 w 340"/>
                  <a:gd name="T11" fmla="*/ 142 h 142"/>
                  <a:gd name="T12" fmla="*/ 318 w 340"/>
                  <a:gd name="T13" fmla="*/ 140 h 142"/>
                  <a:gd name="T14" fmla="*/ 318 w 340"/>
                  <a:gd name="T15" fmla="*/ 140 h 142"/>
                  <a:gd name="T16" fmla="*/ 324 w 340"/>
                  <a:gd name="T17" fmla="*/ 136 h 142"/>
                  <a:gd name="T18" fmla="*/ 324 w 340"/>
                  <a:gd name="T19" fmla="*/ 136 h 142"/>
                  <a:gd name="T20" fmla="*/ 328 w 340"/>
                  <a:gd name="T21" fmla="*/ 130 h 142"/>
                  <a:gd name="T22" fmla="*/ 328 w 340"/>
                  <a:gd name="T23" fmla="*/ 130 h 142"/>
                  <a:gd name="T24" fmla="*/ 332 w 340"/>
                  <a:gd name="T25" fmla="*/ 126 h 142"/>
                  <a:gd name="T26" fmla="*/ 332 w 340"/>
                  <a:gd name="T27" fmla="*/ 126 h 142"/>
                  <a:gd name="T28" fmla="*/ 338 w 340"/>
                  <a:gd name="T29" fmla="*/ 122 h 142"/>
                  <a:gd name="T30" fmla="*/ 338 w 340"/>
                  <a:gd name="T31" fmla="*/ 122 h 142"/>
                  <a:gd name="T32" fmla="*/ 340 w 340"/>
                  <a:gd name="T33" fmla="*/ 120 h 142"/>
                  <a:gd name="T34" fmla="*/ 20 w 340"/>
                  <a:gd name="T35" fmla="*/ 0 h 142"/>
                  <a:gd name="T36" fmla="*/ 20 w 340"/>
                  <a:gd name="T37" fmla="*/ 0 h 142"/>
                  <a:gd name="T38" fmla="*/ 14 w 340"/>
                  <a:gd name="T39"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0" h="142">
                    <a:moveTo>
                      <a:pt x="14" y="6"/>
                    </a:moveTo>
                    <a:lnTo>
                      <a:pt x="14" y="6"/>
                    </a:lnTo>
                    <a:lnTo>
                      <a:pt x="4" y="14"/>
                    </a:lnTo>
                    <a:lnTo>
                      <a:pt x="0" y="24"/>
                    </a:lnTo>
                    <a:lnTo>
                      <a:pt x="314" y="142"/>
                    </a:lnTo>
                    <a:lnTo>
                      <a:pt x="314" y="142"/>
                    </a:lnTo>
                    <a:lnTo>
                      <a:pt x="318" y="140"/>
                    </a:lnTo>
                    <a:lnTo>
                      <a:pt x="318" y="140"/>
                    </a:lnTo>
                    <a:lnTo>
                      <a:pt x="324" y="136"/>
                    </a:lnTo>
                    <a:lnTo>
                      <a:pt x="324" y="136"/>
                    </a:lnTo>
                    <a:lnTo>
                      <a:pt x="328" y="130"/>
                    </a:lnTo>
                    <a:lnTo>
                      <a:pt x="328" y="130"/>
                    </a:lnTo>
                    <a:lnTo>
                      <a:pt x="332" y="126"/>
                    </a:lnTo>
                    <a:lnTo>
                      <a:pt x="332" y="126"/>
                    </a:lnTo>
                    <a:lnTo>
                      <a:pt x="338" y="122"/>
                    </a:lnTo>
                    <a:lnTo>
                      <a:pt x="338" y="122"/>
                    </a:lnTo>
                    <a:lnTo>
                      <a:pt x="340" y="120"/>
                    </a:lnTo>
                    <a:lnTo>
                      <a:pt x="20" y="0"/>
                    </a:lnTo>
                    <a:lnTo>
                      <a:pt x="20" y="0"/>
                    </a:lnTo>
                    <a:lnTo>
                      <a:pt x="14"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7" name="Freeform 191"/>
              <p:cNvSpPr/>
              <p:nvPr>
                <p:custDataLst>
                  <p:tags r:id="rId5"/>
                </p:custDataLst>
              </p:nvPr>
            </p:nvSpPr>
            <p:spPr bwMode="auto">
              <a:xfrm>
                <a:off x="3810889" y="3909766"/>
                <a:ext cx="354719" cy="148685"/>
              </a:xfrm>
              <a:custGeom>
                <a:avLst/>
                <a:gdLst>
                  <a:gd name="T0" fmla="*/ 0 w 334"/>
                  <a:gd name="T1" fmla="*/ 22 h 140"/>
                  <a:gd name="T2" fmla="*/ 312 w 334"/>
                  <a:gd name="T3" fmla="*/ 140 h 140"/>
                  <a:gd name="T4" fmla="*/ 312 w 334"/>
                  <a:gd name="T5" fmla="*/ 140 h 140"/>
                  <a:gd name="T6" fmla="*/ 316 w 334"/>
                  <a:gd name="T7" fmla="*/ 136 h 140"/>
                  <a:gd name="T8" fmla="*/ 316 w 334"/>
                  <a:gd name="T9" fmla="*/ 136 h 140"/>
                  <a:gd name="T10" fmla="*/ 320 w 334"/>
                  <a:gd name="T11" fmla="*/ 132 h 140"/>
                  <a:gd name="T12" fmla="*/ 320 w 334"/>
                  <a:gd name="T13" fmla="*/ 132 h 140"/>
                  <a:gd name="T14" fmla="*/ 324 w 334"/>
                  <a:gd name="T15" fmla="*/ 128 h 140"/>
                  <a:gd name="T16" fmla="*/ 324 w 334"/>
                  <a:gd name="T17" fmla="*/ 128 h 140"/>
                  <a:gd name="T18" fmla="*/ 326 w 334"/>
                  <a:gd name="T19" fmla="*/ 122 h 140"/>
                  <a:gd name="T20" fmla="*/ 326 w 334"/>
                  <a:gd name="T21" fmla="*/ 122 h 140"/>
                  <a:gd name="T22" fmla="*/ 330 w 334"/>
                  <a:gd name="T23" fmla="*/ 118 h 140"/>
                  <a:gd name="T24" fmla="*/ 330 w 334"/>
                  <a:gd name="T25" fmla="*/ 118 h 140"/>
                  <a:gd name="T26" fmla="*/ 334 w 334"/>
                  <a:gd name="T27" fmla="*/ 114 h 140"/>
                  <a:gd name="T28" fmla="*/ 28 w 334"/>
                  <a:gd name="T29" fmla="*/ 0 h 140"/>
                  <a:gd name="T30" fmla="*/ 28 w 334"/>
                  <a:gd name="T31" fmla="*/ 0 h 140"/>
                  <a:gd name="T32" fmla="*/ 0 w 334"/>
                  <a:gd name="T33"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40">
                    <a:moveTo>
                      <a:pt x="0" y="22"/>
                    </a:moveTo>
                    <a:lnTo>
                      <a:pt x="312" y="140"/>
                    </a:lnTo>
                    <a:lnTo>
                      <a:pt x="312" y="140"/>
                    </a:lnTo>
                    <a:lnTo>
                      <a:pt x="316" y="136"/>
                    </a:lnTo>
                    <a:lnTo>
                      <a:pt x="316" y="136"/>
                    </a:lnTo>
                    <a:lnTo>
                      <a:pt x="320" y="132"/>
                    </a:lnTo>
                    <a:lnTo>
                      <a:pt x="320" y="132"/>
                    </a:lnTo>
                    <a:lnTo>
                      <a:pt x="324" y="128"/>
                    </a:lnTo>
                    <a:lnTo>
                      <a:pt x="324" y="128"/>
                    </a:lnTo>
                    <a:lnTo>
                      <a:pt x="326" y="122"/>
                    </a:lnTo>
                    <a:lnTo>
                      <a:pt x="326" y="122"/>
                    </a:lnTo>
                    <a:lnTo>
                      <a:pt x="330" y="118"/>
                    </a:lnTo>
                    <a:lnTo>
                      <a:pt x="330" y="118"/>
                    </a:lnTo>
                    <a:lnTo>
                      <a:pt x="334" y="114"/>
                    </a:lnTo>
                    <a:lnTo>
                      <a:pt x="28" y="0"/>
                    </a:lnTo>
                    <a:lnTo>
                      <a:pt x="28" y="0"/>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8" name="Freeform 192"/>
              <p:cNvSpPr/>
              <p:nvPr>
                <p:custDataLst>
                  <p:tags r:id="rId6"/>
                </p:custDataLst>
              </p:nvPr>
            </p:nvSpPr>
            <p:spPr bwMode="auto">
              <a:xfrm>
                <a:off x="3636717" y="4181648"/>
                <a:ext cx="106203" cy="27613"/>
              </a:xfrm>
              <a:custGeom>
                <a:avLst/>
                <a:gdLst>
                  <a:gd name="T0" fmla="*/ 46 w 100"/>
                  <a:gd name="T1" fmla="*/ 6 h 26"/>
                  <a:gd name="T2" fmla="*/ 46 w 100"/>
                  <a:gd name="T3" fmla="*/ 6 h 26"/>
                  <a:gd name="T4" fmla="*/ 22 w 100"/>
                  <a:gd name="T5" fmla="*/ 4 h 26"/>
                  <a:gd name="T6" fmla="*/ 0 w 100"/>
                  <a:gd name="T7" fmla="*/ 0 h 26"/>
                  <a:gd name="T8" fmla="*/ 0 w 100"/>
                  <a:gd name="T9" fmla="*/ 0 h 26"/>
                  <a:gd name="T10" fmla="*/ 100 w 100"/>
                  <a:gd name="T11" fmla="*/ 26 h 26"/>
                  <a:gd name="T12" fmla="*/ 48 w 100"/>
                  <a:gd name="T13" fmla="*/ 6 h 26"/>
                  <a:gd name="T14" fmla="*/ 48 w 100"/>
                  <a:gd name="T15" fmla="*/ 6 h 26"/>
                  <a:gd name="T16" fmla="*/ 46 w 100"/>
                  <a:gd name="T17"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26">
                    <a:moveTo>
                      <a:pt x="46" y="6"/>
                    </a:moveTo>
                    <a:lnTo>
                      <a:pt x="46" y="6"/>
                    </a:lnTo>
                    <a:lnTo>
                      <a:pt x="22" y="4"/>
                    </a:lnTo>
                    <a:lnTo>
                      <a:pt x="0" y="0"/>
                    </a:lnTo>
                    <a:lnTo>
                      <a:pt x="0" y="0"/>
                    </a:lnTo>
                    <a:lnTo>
                      <a:pt x="100" y="26"/>
                    </a:lnTo>
                    <a:lnTo>
                      <a:pt x="48" y="6"/>
                    </a:lnTo>
                    <a:lnTo>
                      <a:pt x="48" y="6"/>
                    </a:lnTo>
                    <a:lnTo>
                      <a:pt x="4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9" name="Freeform 193"/>
              <p:cNvSpPr/>
              <p:nvPr>
                <p:custDataLst>
                  <p:tags r:id="rId7"/>
                </p:custDataLst>
              </p:nvPr>
            </p:nvSpPr>
            <p:spPr bwMode="auto">
              <a:xfrm>
                <a:off x="3942582" y="3788695"/>
                <a:ext cx="303741" cy="135941"/>
              </a:xfrm>
              <a:custGeom>
                <a:avLst/>
                <a:gdLst>
                  <a:gd name="T0" fmla="*/ 0 w 286"/>
                  <a:gd name="T1" fmla="*/ 26 h 128"/>
                  <a:gd name="T2" fmla="*/ 274 w 286"/>
                  <a:gd name="T3" fmla="*/ 128 h 128"/>
                  <a:gd name="T4" fmla="*/ 274 w 286"/>
                  <a:gd name="T5" fmla="*/ 128 h 128"/>
                  <a:gd name="T6" fmla="*/ 276 w 286"/>
                  <a:gd name="T7" fmla="*/ 124 h 128"/>
                  <a:gd name="T8" fmla="*/ 276 w 286"/>
                  <a:gd name="T9" fmla="*/ 124 h 128"/>
                  <a:gd name="T10" fmla="*/ 278 w 286"/>
                  <a:gd name="T11" fmla="*/ 118 h 128"/>
                  <a:gd name="T12" fmla="*/ 278 w 286"/>
                  <a:gd name="T13" fmla="*/ 118 h 128"/>
                  <a:gd name="T14" fmla="*/ 282 w 286"/>
                  <a:gd name="T15" fmla="*/ 112 h 128"/>
                  <a:gd name="T16" fmla="*/ 282 w 286"/>
                  <a:gd name="T17" fmla="*/ 112 h 128"/>
                  <a:gd name="T18" fmla="*/ 284 w 286"/>
                  <a:gd name="T19" fmla="*/ 106 h 128"/>
                  <a:gd name="T20" fmla="*/ 284 w 286"/>
                  <a:gd name="T21" fmla="*/ 106 h 128"/>
                  <a:gd name="T22" fmla="*/ 286 w 286"/>
                  <a:gd name="T23" fmla="*/ 100 h 128"/>
                  <a:gd name="T24" fmla="*/ 22 w 286"/>
                  <a:gd name="T25" fmla="*/ 0 h 128"/>
                  <a:gd name="T26" fmla="*/ 22 w 286"/>
                  <a:gd name="T27" fmla="*/ 0 h 128"/>
                  <a:gd name="T28" fmla="*/ 0 w 286"/>
                  <a:gd name="T29" fmla="*/ 2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128">
                    <a:moveTo>
                      <a:pt x="0" y="26"/>
                    </a:moveTo>
                    <a:lnTo>
                      <a:pt x="274" y="128"/>
                    </a:lnTo>
                    <a:lnTo>
                      <a:pt x="274" y="128"/>
                    </a:lnTo>
                    <a:lnTo>
                      <a:pt x="276" y="124"/>
                    </a:lnTo>
                    <a:lnTo>
                      <a:pt x="276" y="124"/>
                    </a:lnTo>
                    <a:lnTo>
                      <a:pt x="278" y="118"/>
                    </a:lnTo>
                    <a:lnTo>
                      <a:pt x="278" y="118"/>
                    </a:lnTo>
                    <a:lnTo>
                      <a:pt x="282" y="112"/>
                    </a:lnTo>
                    <a:lnTo>
                      <a:pt x="282" y="112"/>
                    </a:lnTo>
                    <a:lnTo>
                      <a:pt x="284" y="106"/>
                    </a:lnTo>
                    <a:lnTo>
                      <a:pt x="284" y="106"/>
                    </a:lnTo>
                    <a:lnTo>
                      <a:pt x="286" y="100"/>
                    </a:lnTo>
                    <a:lnTo>
                      <a:pt x="22" y="0"/>
                    </a:lnTo>
                    <a:lnTo>
                      <a:pt x="22" y="0"/>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0" name="Freeform 194"/>
              <p:cNvSpPr/>
              <p:nvPr>
                <p:custDataLst>
                  <p:tags r:id="rId8"/>
                </p:custDataLst>
              </p:nvPr>
            </p:nvSpPr>
            <p:spPr bwMode="auto">
              <a:xfrm>
                <a:off x="3745044" y="4041458"/>
                <a:ext cx="293121" cy="131692"/>
              </a:xfrm>
              <a:custGeom>
                <a:avLst/>
                <a:gdLst>
                  <a:gd name="T0" fmla="*/ 6 w 276"/>
                  <a:gd name="T1" fmla="*/ 36 h 124"/>
                  <a:gd name="T2" fmla="*/ 242 w 276"/>
                  <a:gd name="T3" fmla="*/ 124 h 124"/>
                  <a:gd name="T4" fmla="*/ 242 w 276"/>
                  <a:gd name="T5" fmla="*/ 124 h 124"/>
                  <a:gd name="T6" fmla="*/ 248 w 276"/>
                  <a:gd name="T7" fmla="*/ 122 h 124"/>
                  <a:gd name="T8" fmla="*/ 248 w 276"/>
                  <a:gd name="T9" fmla="*/ 122 h 124"/>
                  <a:gd name="T10" fmla="*/ 254 w 276"/>
                  <a:gd name="T11" fmla="*/ 118 h 124"/>
                  <a:gd name="T12" fmla="*/ 254 w 276"/>
                  <a:gd name="T13" fmla="*/ 118 h 124"/>
                  <a:gd name="T14" fmla="*/ 262 w 276"/>
                  <a:gd name="T15" fmla="*/ 112 h 124"/>
                  <a:gd name="T16" fmla="*/ 262 w 276"/>
                  <a:gd name="T17" fmla="*/ 112 h 124"/>
                  <a:gd name="T18" fmla="*/ 268 w 276"/>
                  <a:gd name="T19" fmla="*/ 108 h 124"/>
                  <a:gd name="T20" fmla="*/ 268 w 276"/>
                  <a:gd name="T21" fmla="*/ 108 h 124"/>
                  <a:gd name="T22" fmla="*/ 276 w 276"/>
                  <a:gd name="T23" fmla="*/ 104 h 124"/>
                  <a:gd name="T24" fmla="*/ 0 w 276"/>
                  <a:gd name="T25" fmla="*/ 0 h 124"/>
                  <a:gd name="T26" fmla="*/ 0 w 276"/>
                  <a:gd name="T27" fmla="*/ 0 h 124"/>
                  <a:gd name="T28" fmla="*/ 6 w 276"/>
                  <a:gd name="T29" fmla="*/ 3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 h="124">
                    <a:moveTo>
                      <a:pt x="6" y="36"/>
                    </a:moveTo>
                    <a:lnTo>
                      <a:pt x="242" y="124"/>
                    </a:lnTo>
                    <a:lnTo>
                      <a:pt x="242" y="124"/>
                    </a:lnTo>
                    <a:lnTo>
                      <a:pt x="248" y="122"/>
                    </a:lnTo>
                    <a:lnTo>
                      <a:pt x="248" y="122"/>
                    </a:lnTo>
                    <a:lnTo>
                      <a:pt x="254" y="118"/>
                    </a:lnTo>
                    <a:lnTo>
                      <a:pt x="254" y="118"/>
                    </a:lnTo>
                    <a:lnTo>
                      <a:pt x="262" y="112"/>
                    </a:lnTo>
                    <a:lnTo>
                      <a:pt x="262" y="112"/>
                    </a:lnTo>
                    <a:lnTo>
                      <a:pt x="268" y="108"/>
                    </a:lnTo>
                    <a:lnTo>
                      <a:pt x="268" y="108"/>
                    </a:lnTo>
                    <a:lnTo>
                      <a:pt x="276" y="104"/>
                    </a:lnTo>
                    <a:lnTo>
                      <a:pt x="0" y="0"/>
                    </a:lnTo>
                    <a:lnTo>
                      <a:pt x="0" y="0"/>
                    </a:lnTo>
                    <a:lnTo>
                      <a:pt x="6"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1" name="Freeform 195"/>
              <p:cNvSpPr/>
              <p:nvPr>
                <p:custDataLst>
                  <p:tags r:id="rId9"/>
                </p:custDataLst>
              </p:nvPr>
            </p:nvSpPr>
            <p:spPr bwMode="auto">
              <a:xfrm>
                <a:off x="3764160" y="4132793"/>
                <a:ext cx="178422" cy="82839"/>
              </a:xfrm>
              <a:custGeom>
                <a:avLst/>
                <a:gdLst>
                  <a:gd name="T0" fmla="*/ 0 w 168"/>
                  <a:gd name="T1" fmla="*/ 32 h 78"/>
                  <a:gd name="T2" fmla="*/ 118 w 168"/>
                  <a:gd name="T3" fmla="*/ 78 h 78"/>
                  <a:gd name="T4" fmla="*/ 118 w 168"/>
                  <a:gd name="T5" fmla="*/ 78 h 78"/>
                  <a:gd name="T6" fmla="*/ 142 w 168"/>
                  <a:gd name="T7" fmla="*/ 72 h 78"/>
                  <a:gd name="T8" fmla="*/ 142 w 168"/>
                  <a:gd name="T9" fmla="*/ 72 h 78"/>
                  <a:gd name="T10" fmla="*/ 168 w 168"/>
                  <a:gd name="T11" fmla="*/ 64 h 78"/>
                  <a:gd name="T12" fmla="*/ 0 w 168"/>
                  <a:gd name="T13" fmla="*/ 0 h 78"/>
                  <a:gd name="T14" fmla="*/ 0 w 168"/>
                  <a:gd name="T15" fmla="*/ 0 h 78"/>
                  <a:gd name="T16" fmla="*/ 0 w 168"/>
                  <a:gd name="T17" fmla="*/ 18 h 78"/>
                  <a:gd name="T18" fmla="*/ 0 w 168"/>
                  <a:gd name="T19"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78">
                    <a:moveTo>
                      <a:pt x="0" y="32"/>
                    </a:moveTo>
                    <a:lnTo>
                      <a:pt x="118" y="78"/>
                    </a:lnTo>
                    <a:lnTo>
                      <a:pt x="118" y="78"/>
                    </a:lnTo>
                    <a:lnTo>
                      <a:pt x="142" y="72"/>
                    </a:lnTo>
                    <a:lnTo>
                      <a:pt x="142" y="72"/>
                    </a:lnTo>
                    <a:lnTo>
                      <a:pt x="168" y="64"/>
                    </a:lnTo>
                    <a:lnTo>
                      <a:pt x="0" y="0"/>
                    </a:lnTo>
                    <a:lnTo>
                      <a:pt x="0" y="0"/>
                    </a:lnTo>
                    <a:lnTo>
                      <a:pt x="0" y="18"/>
                    </a:lnTo>
                    <a:lnTo>
                      <a:pt x="0" y="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2" name="Freeform 196"/>
              <p:cNvSpPr/>
              <p:nvPr>
                <p:custDataLst>
                  <p:tags r:id="rId10"/>
                </p:custDataLst>
              </p:nvPr>
            </p:nvSpPr>
            <p:spPr bwMode="auto">
              <a:xfrm>
                <a:off x="4127376" y="3518938"/>
                <a:ext cx="182669" cy="97707"/>
              </a:xfrm>
              <a:custGeom>
                <a:avLst/>
                <a:gdLst>
                  <a:gd name="T0" fmla="*/ 170 w 172"/>
                  <a:gd name="T1" fmla="*/ 72 h 92"/>
                  <a:gd name="T2" fmla="*/ 170 w 172"/>
                  <a:gd name="T3" fmla="*/ 72 h 92"/>
                  <a:gd name="T4" fmla="*/ 170 w 172"/>
                  <a:gd name="T5" fmla="*/ 60 h 92"/>
                  <a:gd name="T6" fmla="*/ 10 w 172"/>
                  <a:gd name="T7" fmla="*/ 0 h 92"/>
                  <a:gd name="T8" fmla="*/ 10 w 172"/>
                  <a:gd name="T9" fmla="*/ 0 h 92"/>
                  <a:gd name="T10" fmla="*/ 0 w 172"/>
                  <a:gd name="T11" fmla="*/ 28 h 92"/>
                  <a:gd name="T12" fmla="*/ 170 w 172"/>
                  <a:gd name="T13" fmla="*/ 92 h 92"/>
                  <a:gd name="T14" fmla="*/ 170 w 172"/>
                  <a:gd name="T15" fmla="*/ 92 h 92"/>
                  <a:gd name="T16" fmla="*/ 172 w 172"/>
                  <a:gd name="T17" fmla="*/ 86 h 92"/>
                  <a:gd name="T18" fmla="*/ 172 w 172"/>
                  <a:gd name="T19" fmla="*/ 86 h 92"/>
                  <a:gd name="T20" fmla="*/ 170 w 172"/>
                  <a:gd name="T21"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 h="92">
                    <a:moveTo>
                      <a:pt x="170" y="72"/>
                    </a:moveTo>
                    <a:lnTo>
                      <a:pt x="170" y="72"/>
                    </a:lnTo>
                    <a:lnTo>
                      <a:pt x="170" y="60"/>
                    </a:lnTo>
                    <a:lnTo>
                      <a:pt x="10" y="0"/>
                    </a:lnTo>
                    <a:lnTo>
                      <a:pt x="10" y="0"/>
                    </a:lnTo>
                    <a:lnTo>
                      <a:pt x="0" y="28"/>
                    </a:lnTo>
                    <a:lnTo>
                      <a:pt x="170" y="92"/>
                    </a:lnTo>
                    <a:lnTo>
                      <a:pt x="170" y="92"/>
                    </a:lnTo>
                    <a:lnTo>
                      <a:pt x="172" y="86"/>
                    </a:lnTo>
                    <a:lnTo>
                      <a:pt x="172" y="86"/>
                    </a:lnTo>
                    <a:lnTo>
                      <a:pt x="17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3" name="Freeform 197"/>
              <p:cNvSpPr/>
              <p:nvPr>
                <p:custDataLst>
                  <p:tags r:id="rId11"/>
                </p:custDataLst>
              </p:nvPr>
            </p:nvSpPr>
            <p:spPr bwMode="auto">
              <a:xfrm>
                <a:off x="4146492" y="3353258"/>
                <a:ext cx="133816" cy="87086"/>
              </a:xfrm>
              <a:custGeom>
                <a:avLst/>
                <a:gdLst>
                  <a:gd name="T0" fmla="*/ 6 w 126"/>
                  <a:gd name="T1" fmla="*/ 36 h 82"/>
                  <a:gd name="T2" fmla="*/ 126 w 126"/>
                  <a:gd name="T3" fmla="*/ 82 h 82"/>
                  <a:gd name="T4" fmla="*/ 126 w 126"/>
                  <a:gd name="T5" fmla="*/ 82 h 82"/>
                  <a:gd name="T6" fmla="*/ 126 w 126"/>
                  <a:gd name="T7" fmla="*/ 78 h 82"/>
                  <a:gd name="T8" fmla="*/ 126 w 126"/>
                  <a:gd name="T9" fmla="*/ 78 h 82"/>
                  <a:gd name="T10" fmla="*/ 124 w 126"/>
                  <a:gd name="T11" fmla="*/ 70 h 82"/>
                  <a:gd name="T12" fmla="*/ 124 w 126"/>
                  <a:gd name="T13" fmla="*/ 70 h 82"/>
                  <a:gd name="T14" fmla="*/ 120 w 126"/>
                  <a:gd name="T15" fmla="*/ 64 h 82"/>
                  <a:gd name="T16" fmla="*/ 120 w 126"/>
                  <a:gd name="T17" fmla="*/ 64 h 82"/>
                  <a:gd name="T18" fmla="*/ 118 w 126"/>
                  <a:gd name="T19" fmla="*/ 56 h 82"/>
                  <a:gd name="T20" fmla="*/ 118 w 126"/>
                  <a:gd name="T21" fmla="*/ 56 h 82"/>
                  <a:gd name="T22" fmla="*/ 114 w 126"/>
                  <a:gd name="T23" fmla="*/ 50 h 82"/>
                  <a:gd name="T24" fmla="*/ 114 w 126"/>
                  <a:gd name="T25" fmla="*/ 50 h 82"/>
                  <a:gd name="T26" fmla="*/ 112 w 126"/>
                  <a:gd name="T27" fmla="*/ 44 h 82"/>
                  <a:gd name="T28" fmla="*/ 112 w 126"/>
                  <a:gd name="T29" fmla="*/ 42 h 82"/>
                  <a:gd name="T30" fmla="*/ 0 w 126"/>
                  <a:gd name="T31" fmla="*/ 0 h 82"/>
                  <a:gd name="T32" fmla="*/ 0 w 126"/>
                  <a:gd name="T33" fmla="*/ 0 h 82"/>
                  <a:gd name="T34" fmla="*/ 4 w 126"/>
                  <a:gd name="T35" fmla="*/ 18 h 82"/>
                  <a:gd name="T36" fmla="*/ 6 w 126"/>
                  <a:gd name="T37" fmla="*/ 3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82">
                    <a:moveTo>
                      <a:pt x="6" y="36"/>
                    </a:moveTo>
                    <a:lnTo>
                      <a:pt x="126" y="82"/>
                    </a:lnTo>
                    <a:lnTo>
                      <a:pt x="126" y="82"/>
                    </a:lnTo>
                    <a:lnTo>
                      <a:pt x="126" y="78"/>
                    </a:lnTo>
                    <a:lnTo>
                      <a:pt x="126" y="78"/>
                    </a:lnTo>
                    <a:lnTo>
                      <a:pt x="124" y="70"/>
                    </a:lnTo>
                    <a:lnTo>
                      <a:pt x="124" y="70"/>
                    </a:lnTo>
                    <a:lnTo>
                      <a:pt x="120" y="64"/>
                    </a:lnTo>
                    <a:lnTo>
                      <a:pt x="120" y="64"/>
                    </a:lnTo>
                    <a:lnTo>
                      <a:pt x="118" y="56"/>
                    </a:lnTo>
                    <a:lnTo>
                      <a:pt x="118" y="56"/>
                    </a:lnTo>
                    <a:lnTo>
                      <a:pt x="114" y="50"/>
                    </a:lnTo>
                    <a:lnTo>
                      <a:pt x="114" y="50"/>
                    </a:lnTo>
                    <a:lnTo>
                      <a:pt x="112" y="44"/>
                    </a:lnTo>
                    <a:lnTo>
                      <a:pt x="112" y="42"/>
                    </a:lnTo>
                    <a:lnTo>
                      <a:pt x="0" y="0"/>
                    </a:lnTo>
                    <a:lnTo>
                      <a:pt x="0" y="0"/>
                    </a:lnTo>
                    <a:lnTo>
                      <a:pt x="4" y="18"/>
                    </a:lnTo>
                    <a:lnTo>
                      <a:pt x="6"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4" name="Freeform 198"/>
              <p:cNvSpPr/>
              <p:nvPr>
                <p:custDataLst>
                  <p:tags r:id="rId12"/>
                </p:custDataLst>
              </p:nvPr>
            </p:nvSpPr>
            <p:spPr bwMode="auto">
              <a:xfrm>
                <a:off x="4087018" y="3247056"/>
                <a:ext cx="142313" cy="89211"/>
              </a:xfrm>
              <a:custGeom>
                <a:avLst/>
                <a:gdLst>
                  <a:gd name="T0" fmla="*/ 134 w 134"/>
                  <a:gd name="T1" fmla="*/ 84 h 84"/>
                  <a:gd name="T2" fmla="*/ 134 w 134"/>
                  <a:gd name="T3" fmla="*/ 84 h 84"/>
                  <a:gd name="T4" fmla="*/ 134 w 134"/>
                  <a:gd name="T5" fmla="*/ 84 h 84"/>
                  <a:gd name="T6" fmla="*/ 130 w 134"/>
                  <a:gd name="T7" fmla="*/ 80 h 84"/>
                  <a:gd name="T8" fmla="*/ 130 w 134"/>
                  <a:gd name="T9" fmla="*/ 80 h 84"/>
                  <a:gd name="T10" fmla="*/ 128 w 134"/>
                  <a:gd name="T11" fmla="*/ 76 h 84"/>
                  <a:gd name="T12" fmla="*/ 128 w 134"/>
                  <a:gd name="T13" fmla="*/ 76 h 84"/>
                  <a:gd name="T14" fmla="*/ 124 w 134"/>
                  <a:gd name="T15" fmla="*/ 72 h 84"/>
                  <a:gd name="T16" fmla="*/ 124 w 134"/>
                  <a:gd name="T17" fmla="*/ 72 h 84"/>
                  <a:gd name="T18" fmla="*/ 122 w 134"/>
                  <a:gd name="T19" fmla="*/ 68 h 84"/>
                  <a:gd name="T20" fmla="*/ 122 w 134"/>
                  <a:gd name="T21" fmla="*/ 68 h 84"/>
                  <a:gd name="T22" fmla="*/ 118 w 134"/>
                  <a:gd name="T23" fmla="*/ 64 h 84"/>
                  <a:gd name="T24" fmla="*/ 118 w 134"/>
                  <a:gd name="T25" fmla="*/ 64 h 84"/>
                  <a:gd name="T26" fmla="*/ 116 w 134"/>
                  <a:gd name="T27" fmla="*/ 60 h 84"/>
                  <a:gd name="T28" fmla="*/ 116 w 134"/>
                  <a:gd name="T29" fmla="*/ 60 h 84"/>
                  <a:gd name="T30" fmla="*/ 112 w 134"/>
                  <a:gd name="T31" fmla="*/ 56 h 84"/>
                  <a:gd name="T32" fmla="*/ 112 w 134"/>
                  <a:gd name="T33" fmla="*/ 56 h 84"/>
                  <a:gd name="T34" fmla="*/ 110 w 134"/>
                  <a:gd name="T35" fmla="*/ 52 h 84"/>
                  <a:gd name="T36" fmla="*/ 110 w 134"/>
                  <a:gd name="T37" fmla="*/ 52 h 84"/>
                  <a:gd name="T38" fmla="*/ 106 w 134"/>
                  <a:gd name="T39" fmla="*/ 50 h 84"/>
                  <a:gd name="T40" fmla="*/ 106 w 134"/>
                  <a:gd name="T41" fmla="*/ 50 h 84"/>
                  <a:gd name="T42" fmla="*/ 102 w 134"/>
                  <a:gd name="T43" fmla="*/ 46 h 84"/>
                  <a:gd name="T44" fmla="*/ 102 w 134"/>
                  <a:gd name="T45" fmla="*/ 46 h 84"/>
                  <a:gd name="T46" fmla="*/ 100 w 134"/>
                  <a:gd name="T47" fmla="*/ 42 h 84"/>
                  <a:gd name="T48" fmla="*/ 100 w 134"/>
                  <a:gd name="T49" fmla="*/ 42 h 84"/>
                  <a:gd name="T50" fmla="*/ 96 w 134"/>
                  <a:gd name="T51" fmla="*/ 40 h 84"/>
                  <a:gd name="T52" fmla="*/ 96 w 134"/>
                  <a:gd name="T53" fmla="*/ 40 h 84"/>
                  <a:gd name="T54" fmla="*/ 94 w 134"/>
                  <a:gd name="T55" fmla="*/ 36 h 84"/>
                  <a:gd name="T56" fmla="*/ 92 w 134"/>
                  <a:gd name="T57" fmla="*/ 36 h 84"/>
                  <a:gd name="T58" fmla="*/ 0 w 134"/>
                  <a:gd name="T59" fmla="*/ 0 h 84"/>
                  <a:gd name="T60" fmla="*/ 0 w 134"/>
                  <a:gd name="T61" fmla="*/ 0 h 84"/>
                  <a:gd name="T62" fmla="*/ 18 w 134"/>
                  <a:gd name="T63" fmla="*/ 22 h 84"/>
                  <a:gd name="T64" fmla="*/ 32 w 134"/>
                  <a:gd name="T65" fmla="*/ 46 h 84"/>
                  <a:gd name="T66" fmla="*/ 134 w 134"/>
                  <a:gd name="T6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84">
                    <a:moveTo>
                      <a:pt x="134" y="84"/>
                    </a:moveTo>
                    <a:lnTo>
                      <a:pt x="134" y="84"/>
                    </a:lnTo>
                    <a:lnTo>
                      <a:pt x="134" y="84"/>
                    </a:lnTo>
                    <a:lnTo>
                      <a:pt x="130" y="80"/>
                    </a:lnTo>
                    <a:lnTo>
                      <a:pt x="130" y="80"/>
                    </a:lnTo>
                    <a:lnTo>
                      <a:pt x="128" y="76"/>
                    </a:lnTo>
                    <a:lnTo>
                      <a:pt x="128" y="76"/>
                    </a:lnTo>
                    <a:lnTo>
                      <a:pt x="124" y="72"/>
                    </a:lnTo>
                    <a:lnTo>
                      <a:pt x="124" y="72"/>
                    </a:lnTo>
                    <a:lnTo>
                      <a:pt x="122" y="68"/>
                    </a:lnTo>
                    <a:lnTo>
                      <a:pt x="122" y="68"/>
                    </a:lnTo>
                    <a:lnTo>
                      <a:pt x="118" y="64"/>
                    </a:lnTo>
                    <a:lnTo>
                      <a:pt x="118" y="64"/>
                    </a:lnTo>
                    <a:lnTo>
                      <a:pt x="116" y="60"/>
                    </a:lnTo>
                    <a:lnTo>
                      <a:pt x="116" y="60"/>
                    </a:lnTo>
                    <a:lnTo>
                      <a:pt x="112" y="56"/>
                    </a:lnTo>
                    <a:lnTo>
                      <a:pt x="112" y="56"/>
                    </a:lnTo>
                    <a:lnTo>
                      <a:pt x="110" y="52"/>
                    </a:lnTo>
                    <a:lnTo>
                      <a:pt x="110" y="52"/>
                    </a:lnTo>
                    <a:lnTo>
                      <a:pt x="106" y="50"/>
                    </a:lnTo>
                    <a:lnTo>
                      <a:pt x="106" y="50"/>
                    </a:lnTo>
                    <a:lnTo>
                      <a:pt x="102" y="46"/>
                    </a:lnTo>
                    <a:lnTo>
                      <a:pt x="102" y="46"/>
                    </a:lnTo>
                    <a:lnTo>
                      <a:pt x="100" y="42"/>
                    </a:lnTo>
                    <a:lnTo>
                      <a:pt x="100" y="42"/>
                    </a:lnTo>
                    <a:lnTo>
                      <a:pt x="96" y="40"/>
                    </a:lnTo>
                    <a:lnTo>
                      <a:pt x="96" y="40"/>
                    </a:lnTo>
                    <a:lnTo>
                      <a:pt x="94" y="36"/>
                    </a:lnTo>
                    <a:lnTo>
                      <a:pt x="92" y="36"/>
                    </a:lnTo>
                    <a:lnTo>
                      <a:pt x="0" y="0"/>
                    </a:lnTo>
                    <a:lnTo>
                      <a:pt x="0" y="0"/>
                    </a:lnTo>
                    <a:lnTo>
                      <a:pt x="18" y="22"/>
                    </a:lnTo>
                    <a:lnTo>
                      <a:pt x="32" y="46"/>
                    </a:lnTo>
                    <a:lnTo>
                      <a:pt x="134" y="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5" name="Freeform 199"/>
              <p:cNvSpPr/>
              <p:nvPr>
                <p:custDataLst>
                  <p:tags r:id="rId13"/>
                </p:custDataLst>
              </p:nvPr>
            </p:nvSpPr>
            <p:spPr bwMode="auto">
              <a:xfrm>
                <a:off x="4148616" y="3440346"/>
                <a:ext cx="155057" cy="91335"/>
              </a:xfrm>
              <a:custGeom>
                <a:avLst/>
                <a:gdLst>
                  <a:gd name="T0" fmla="*/ 0 w 146"/>
                  <a:gd name="T1" fmla="*/ 32 h 86"/>
                  <a:gd name="T2" fmla="*/ 146 w 146"/>
                  <a:gd name="T3" fmla="*/ 86 h 86"/>
                  <a:gd name="T4" fmla="*/ 146 w 146"/>
                  <a:gd name="T5" fmla="*/ 86 h 86"/>
                  <a:gd name="T6" fmla="*/ 144 w 146"/>
                  <a:gd name="T7" fmla="*/ 72 h 86"/>
                  <a:gd name="T8" fmla="*/ 144 w 146"/>
                  <a:gd name="T9" fmla="*/ 72 h 86"/>
                  <a:gd name="T10" fmla="*/ 140 w 146"/>
                  <a:gd name="T11" fmla="*/ 54 h 86"/>
                  <a:gd name="T12" fmla="*/ 140 w 146"/>
                  <a:gd name="T13" fmla="*/ 54 h 86"/>
                  <a:gd name="T14" fmla="*/ 140 w 146"/>
                  <a:gd name="T15" fmla="*/ 50 h 86"/>
                  <a:gd name="T16" fmla="*/ 4 w 146"/>
                  <a:gd name="T17" fmla="*/ 0 h 86"/>
                  <a:gd name="T18" fmla="*/ 4 w 146"/>
                  <a:gd name="T19" fmla="*/ 0 h 86"/>
                  <a:gd name="T20" fmla="*/ 0 w 146"/>
                  <a:gd name="T2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86">
                    <a:moveTo>
                      <a:pt x="0" y="32"/>
                    </a:moveTo>
                    <a:lnTo>
                      <a:pt x="146" y="86"/>
                    </a:lnTo>
                    <a:lnTo>
                      <a:pt x="146" y="86"/>
                    </a:lnTo>
                    <a:lnTo>
                      <a:pt x="144" y="72"/>
                    </a:lnTo>
                    <a:lnTo>
                      <a:pt x="144" y="72"/>
                    </a:lnTo>
                    <a:lnTo>
                      <a:pt x="140" y="54"/>
                    </a:lnTo>
                    <a:lnTo>
                      <a:pt x="140" y="54"/>
                    </a:lnTo>
                    <a:lnTo>
                      <a:pt x="140" y="50"/>
                    </a:lnTo>
                    <a:lnTo>
                      <a:pt x="4" y="0"/>
                    </a:lnTo>
                    <a:lnTo>
                      <a:pt x="4" y="0"/>
                    </a:lnTo>
                    <a:lnTo>
                      <a:pt x="0" y="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6" name="Freeform 200"/>
              <p:cNvSpPr/>
              <p:nvPr>
                <p:custDataLst>
                  <p:tags r:id="rId14"/>
                </p:custDataLst>
              </p:nvPr>
            </p:nvSpPr>
            <p:spPr bwMode="auto">
              <a:xfrm>
                <a:off x="3999933" y="3727096"/>
                <a:ext cx="276129" cy="125320"/>
              </a:xfrm>
              <a:custGeom>
                <a:avLst/>
                <a:gdLst>
                  <a:gd name="T0" fmla="*/ 0 w 260"/>
                  <a:gd name="T1" fmla="*/ 24 h 118"/>
                  <a:gd name="T2" fmla="*/ 250 w 260"/>
                  <a:gd name="T3" fmla="*/ 118 h 118"/>
                  <a:gd name="T4" fmla="*/ 250 w 260"/>
                  <a:gd name="T5" fmla="*/ 116 h 118"/>
                  <a:gd name="T6" fmla="*/ 250 w 260"/>
                  <a:gd name="T7" fmla="*/ 114 h 118"/>
                  <a:gd name="T8" fmla="*/ 252 w 260"/>
                  <a:gd name="T9" fmla="*/ 112 h 118"/>
                  <a:gd name="T10" fmla="*/ 252 w 260"/>
                  <a:gd name="T11" fmla="*/ 110 h 118"/>
                  <a:gd name="T12" fmla="*/ 252 w 260"/>
                  <a:gd name="T13" fmla="*/ 108 h 118"/>
                  <a:gd name="T14" fmla="*/ 252 w 260"/>
                  <a:gd name="T15" fmla="*/ 108 h 118"/>
                  <a:gd name="T16" fmla="*/ 254 w 260"/>
                  <a:gd name="T17" fmla="*/ 102 h 118"/>
                  <a:gd name="T18" fmla="*/ 254 w 260"/>
                  <a:gd name="T19" fmla="*/ 102 h 118"/>
                  <a:gd name="T20" fmla="*/ 256 w 260"/>
                  <a:gd name="T21" fmla="*/ 96 h 118"/>
                  <a:gd name="T22" fmla="*/ 256 w 260"/>
                  <a:gd name="T23" fmla="*/ 96 h 118"/>
                  <a:gd name="T24" fmla="*/ 258 w 260"/>
                  <a:gd name="T25" fmla="*/ 90 h 118"/>
                  <a:gd name="T26" fmla="*/ 260 w 260"/>
                  <a:gd name="T27" fmla="*/ 90 h 118"/>
                  <a:gd name="T28" fmla="*/ 20 w 260"/>
                  <a:gd name="T29" fmla="*/ 0 h 118"/>
                  <a:gd name="T30" fmla="*/ 20 w 260"/>
                  <a:gd name="T31" fmla="*/ 0 h 118"/>
                  <a:gd name="T32" fmla="*/ 0 w 260"/>
                  <a:gd name="T33" fmla="*/ 2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0" h="118">
                    <a:moveTo>
                      <a:pt x="0" y="24"/>
                    </a:moveTo>
                    <a:lnTo>
                      <a:pt x="250" y="118"/>
                    </a:lnTo>
                    <a:lnTo>
                      <a:pt x="250" y="116"/>
                    </a:lnTo>
                    <a:lnTo>
                      <a:pt x="250" y="114"/>
                    </a:lnTo>
                    <a:lnTo>
                      <a:pt x="252" y="112"/>
                    </a:lnTo>
                    <a:lnTo>
                      <a:pt x="252" y="110"/>
                    </a:lnTo>
                    <a:lnTo>
                      <a:pt x="252" y="108"/>
                    </a:lnTo>
                    <a:lnTo>
                      <a:pt x="252" y="108"/>
                    </a:lnTo>
                    <a:lnTo>
                      <a:pt x="254" y="102"/>
                    </a:lnTo>
                    <a:lnTo>
                      <a:pt x="254" y="102"/>
                    </a:lnTo>
                    <a:lnTo>
                      <a:pt x="256" y="96"/>
                    </a:lnTo>
                    <a:lnTo>
                      <a:pt x="256" y="96"/>
                    </a:lnTo>
                    <a:lnTo>
                      <a:pt x="258" y="90"/>
                    </a:lnTo>
                    <a:lnTo>
                      <a:pt x="260" y="90"/>
                    </a:lnTo>
                    <a:lnTo>
                      <a:pt x="20" y="0"/>
                    </a:lnTo>
                    <a:lnTo>
                      <a:pt x="20" y="0"/>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7" name="Freeform 201"/>
              <p:cNvSpPr/>
              <p:nvPr>
                <p:custDataLst>
                  <p:tags r:id="rId15"/>
                </p:custDataLst>
              </p:nvPr>
            </p:nvSpPr>
            <p:spPr bwMode="auto">
              <a:xfrm>
                <a:off x="4048785" y="3661250"/>
                <a:ext cx="246391" cy="116824"/>
              </a:xfrm>
              <a:custGeom>
                <a:avLst/>
                <a:gdLst>
                  <a:gd name="T0" fmla="*/ 0 w 232"/>
                  <a:gd name="T1" fmla="*/ 26 h 110"/>
                  <a:gd name="T2" fmla="*/ 226 w 232"/>
                  <a:gd name="T3" fmla="*/ 110 h 110"/>
                  <a:gd name="T4" fmla="*/ 226 w 232"/>
                  <a:gd name="T5" fmla="*/ 110 h 110"/>
                  <a:gd name="T6" fmla="*/ 228 w 232"/>
                  <a:gd name="T7" fmla="*/ 100 h 110"/>
                  <a:gd name="T8" fmla="*/ 228 w 232"/>
                  <a:gd name="T9" fmla="*/ 100 h 110"/>
                  <a:gd name="T10" fmla="*/ 230 w 232"/>
                  <a:gd name="T11" fmla="*/ 88 h 110"/>
                  <a:gd name="T12" fmla="*/ 230 w 232"/>
                  <a:gd name="T13" fmla="*/ 88 h 110"/>
                  <a:gd name="T14" fmla="*/ 232 w 232"/>
                  <a:gd name="T15" fmla="*/ 80 h 110"/>
                  <a:gd name="T16" fmla="*/ 18 w 232"/>
                  <a:gd name="T17" fmla="*/ 0 h 110"/>
                  <a:gd name="T18" fmla="*/ 18 w 232"/>
                  <a:gd name="T19" fmla="*/ 0 h 110"/>
                  <a:gd name="T20" fmla="*/ 0 w 232"/>
                  <a:gd name="T21" fmla="*/ 2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2" h="110">
                    <a:moveTo>
                      <a:pt x="0" y="26"/>
                    </a:moveTo>
                    <a:lnTo>
                      <a:pt x="226" y="110"/>
                    </a:lnTo>
                    <a:lnTo>
                      <a:pt x="226" y="110"/>
                    </a:lnTo>
                    <a:lnTo>
                      <a:pt x="228" y="100"/>
                    </a:lnTo>
                    <a:lnTo>
                      <a:pt x="228" y="100"/>
                    </a:lnTo>
                    <a:lnTo>
                      <a:pt x="230" y="88"/>
                    </a:lnTo>
                    <a:lnTo>
                      <a:pt x="230" y="88"/>
                    </a:lnTo>
                    <a:lnTo>
                      <a:pt x="232" y="80"/>
                    </a:lnTo>
                    <a:lnTo>
                      <a:pt x="18" y="0"/>
                    </a:lnTo>
                    <a:lnTo>
                      <a:pt x="18" y="0"/>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8" name="Freeform 202"/>
              <p:cNvSpPr/>
              <p:nvPr>
                <p:custDataLst>
                  <p:tags r:id="rId16"/>
                </p:custDataLst>
              </p:nvPr>
            </p:nvSpPr>
            <p:spPr bwMode="auto">
              <a:xfrm>
                <a:off x="4093390" y="3591155"/>
                <a:ext cx="214530" cy="108327"/>
              </a:xfrm>
              <a:custGeom>
                <a:avLst/>
                <a:gdLst>
                  <a:gd name="T0" fmla="*/ 0 w 202"/>
                  <a:gd name="T1" fmla="*/ 28 h 102"/>
                  <a:gd name="T2" fmla="*/ 198 w 202"/>
                  <a:gd name="T3" fmla="*/ 102 h 102"/>
                  <a:gd name="T4" fmla="*/ 198 w 202"/>
                  <a:gd name="T5" fmla="*/ 102 h 102"/>
                  <a:gd name="T6" fmla="*/ 200 w 202"/>
                  <a:gd name="T7" fmla="*/ 90 h 102"/>
                  <a:gd name="T8" fmla="*/ 200 w 202"/>
                  <a:gd name="T9" fmla="*/ 90 h 102"/>
                  <a:gd name="T10" fmla="*/ 202 w 202"/>
                  <a:gd name="T11" fmla="*/ 70 h 102"/>
                  <a:gd name="T12" fmla="*/ 14 w 202"/>
                  <a:gd name="T13" fmla="*/ 0 h 102"/>
                  <a:gd name="T14" fmla="*/ 14 w 202"/>
                  <a:gd name="T15" fmla="*/ 0 h 102"/>
                  <a:gd name="T16" fmla="*/ 0 w 202"/>
                  <a:gd name="T17"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102">
                    <a:moveTo>
                      <a:pt x="0" y="28"/>
                    </a:moveTo>
                    <a:lnTo>
                      <a:pt x="198" y="102"/>
                    </a:lnTo>
                    <a:lnTo>
                      <a:pt x="198" y="102"/>
                    </a:lnTo>
                    <a:lnTo>
                      <a:pt x="200" y="90"/>
                    </a:lnTo>
                    <a:lnTo>
                      <a:pt x="200" y="90"/>
                    </a:lnTo>
                    <a:lnTo>
                      <a:pt x="202" y="70"/>
                    </a:lnTo>
                    <a:lnTo>
                      <a:pt x="14" y="0"/>
                    </a:lnTo>
                    <a:lnTo>
                      <a:pt x="14" y="0"/>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9" name="Freeform 203"/>
              <p:cNvSpPr/>
              <p:nvPr>
                <p:custDataLst>
                  <p:tags r:id="rId17"/>
                </p:custDataLst>
              </p:nvPr>
            </p:nvSpPr>
            <p:spPr bwMode="auto">
              <a:xfrm>
                <a:off x="3381828" y="3151471"/>
                <a:ext cx="811393" cy="1036546"/>
              </a:xfrm>
              <a:custGeom>
                <a:avLst/>
                <a:gdLst>
                  <a:gd name="T0" fmla="*/ 532 w 764"/>
                  <a:gd name="T1" fmla="*/ 10 h 976"/>
                  <a:gd name="T2" fmla="*/ 568 w 764"/>
                  <a:gd name="T3" fmla="*/ 22 h 976"/>
                  <a:gd name="T4" fmla="*/ 600 w 764"/>
                  <a:gd name="T5" fmla="*/ 38 h 976"/>
                  <a:gd name="T6" fmla="*/ 632 w 764"/>
                  <a:gd name="T7" fmla="*/ 60 h 976"/>
                  <a:gd name="T8" fmla="*/ 658 w 764"/>
                  <a:gd name="T9" fmla="*/ 86 h 976"/>
                  <a:gd name="T10" fmla="*/ 684 w 764"/>
                  <a:gd name="T11" fmla="*/ 116 h 976"/>
                  <a:gd name="T12" fmla="*/ 724 w 764"/>
                  <a:gd name="T13" fmla="*/ 184 h 976"/>
                  <a:gd name="T14" fmla="*/ 740 w 764"/>
                  <a:gd name="T15" fmla="*/ 224 h 976"/>
                  <a:gd name="T16" fmla="*/ 760 w 764"/>
                  <a:gd name="T17" fmla="*/ 312 h 976"/>
                  <a:gd name="T18" fmla="*/ 764 w 764"/>
                  <a:gd name="T19" fmla="*/ 406 h 976"/>
                  <a:gd name="T20" fmla="*/ 762 w 764"/>
                  <a:gd name="T21" fmla="*/ 458 h 976"/>
                  <a:gd name="T22" fmla="*/ 742 w 764"/>
                  <a:gd name="T23" fmla="*/ 560 h 976"/>
                  <a:gd name="T24" fmla="*/ 726 w 764"/>
                  <a:gd name="T25" fmla="*/ 612 h 976"/>
                  <a:gd name="T26" fmla="*/ 682 w 764"/>
                  <a:gd name="T27" fmla="*/ 710 h 976"/>
                  <a:gd name="T28" fmla="*/ 626 w 764"/>
                  <a:gd name="T29" fmla="*/ 794 h 976"/>
                  <a:gd name="T30" fmla="*/ 594 w 764"/>
                  <a:gd name="T31" fmla="*/ 832 h 976"/>
                  <a:gd name="T32" fmla="*/ 526 w 764"/>
                  <a:gd name="T33" fmla="*/ 894 h 976"/>
                  <a:gd name="T34" fmla="*/ 490 w 764"/>
                  <a:gd name="T35" fmla="*/ 920 h 976"/>
                  <a:gd name="T36" fmla="*/ 416 w 764"/>
                  <a:gd name="T37" fmla="*/ 956 h 976"/>
                  <a:gd name="T38" fmla="*/ 340 w 764"/>
                  <a:gd name="T39" fmla="*/ 974 h 976"/>
                  <a:gd name="T40" fmla="*/ 320 w 764"/>
                  <a:gd name="T41" fmla="*/ 976 h 976"/>
                  <a:gd name="T42" fmla="*/ 284 w 764"/>
                  <a:gd name="T43" fmla="*/ 976 h 976"/>
                  <a:gd name="T44" fmla="*/ 246 w 764"/>
                  <a:gd name="T45" fmla="*/ 970 h 976"/>
                  <a:gd name="T46" fmla="*/ 210 w 764"/>
                  <a:gd name="T47" fmla="*/ 960 h 976"/>
                  <a:gd name="T48" fmla="*/ 194 w 764"/>
                  <a:gd name="T49" fmla="*/ 954 h 976"/>
                  <a:gd name="T50" fmla="*/ 160 w 764"/>
                  <a:gd name="T51" fmla="*/ 936 h 976"/>
                  <a:gd name="T52" fmla="*/ 130 w 764"/>
                  <a:gd name="T53" fmla="*/ 914 h 976"/>
                  <a:gd name="T54" fmla="*/ 80 w 764"/>
                  <a:gd name="T55" fmla="*/ 860 h 976"/>
                  <a:gd name="T56" fmla="*/ 60 w 764"/>
                  <a:gd name="T57" fmla="*/ 828 h 976"/>
                  <a:gd name="T58" fmla="*/ 26 w 764"/>
                  <a:gd name="T59" fmla="*/ 758 h 976"/>
                  <a:gd name="T60" fmla="*/ 16 w 764"/>
                  <a:gd name="T61" fmla="*/ 718 h 976"/>
                  <a:gd name="T62" fmla="*/ 2 w 764"/>
                  <a:gd name="T63" fmla="*/ 636 h 976"/>
                  <a:gd name="T64" fmla="*/ 0 w 764"/>
                  <a:gd name="T65" fmla="*/ 548 h 976"/>
                  <a:gd name="T66" fmla="*/ 4 w 764"/>
                  <a:gd name="T67" fmla="*/ 504 h 976"/>
                  <a:gd name="T68" fmla="*/ 24 w 764"/>
                  <a:gd name="T69" fmla="*/ 412 h 976"/>
                  <a:gd name="T70" fmla="*/ 40 w 764"/>
                  <a:gd name="T71" fmla="*/ 366 h 976"/>
                  <a:gd name="T72" fmla="*/ 78 w 764"/>
                  <a:gd name="T73" fmla="*/ 278 h 976"/>
                  <a:gd name="T74" fmla="*/ 126 w 764"/>
                  <a:gd name="T75" fmla="*/ 200 h 976"/>
                  <a:gd name="T76" fmla="*/ 154 w 764"/>
                  <a:gd name="T77" fmla="*/ 164 h 976"/>
                  <a:gd name="T78" fmla="*/ 214 w 764"/>
                  <a:gd name="T79" fmla="*/ 102 h 976"/>
                  <a:gd name="T80" fmla="*/ 246 w 764"/>
                  <a:gd name="T81" fmla="*/ 76 h 976"/>
                  <a:gd name="T82" fmla="*/ 314 w 764"/>
                  <a:gd name="T83" fmla="*/ 36 h 976"/>
                  <a:gd name="T84" fmla="*/ 386 w 764"/>
                  <a:gd name="T85" fmla="*/ 10 h 976"/>
                  <a:gd name="T86" fmla="*/ 422 w 764"/>
                  <a:gd name="T87" fmla="*/ 2 h 976"/>
                  <a:gd name="T88" fmla="*/ 478 w 764"/>
                  <a:gd name="T89" fmla="*/ 0 h 976"/>
                  <a:gd name="T90" fmla="*/ 514 w 764"/>
                  <a:gd name="T91" fmla="*/ 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4" h="976">
                    <a:moveTo>
                      <a:pt x="532" y="10"/>
                    </a:moveTo>
                    <a:lnTo>
                      <a:pt x="532" y="10"/>
                    </a:lnTo>
                    <a:lnTo>
                      <a:pt x="550" y="14"/>
                    </a:lnTo>
                    <a:lnTo>
                      <a:pt x="568" y="22"/>
                    </a:lnTo>
                    <a:lnTo>
                      <a:pt x="584" y="30"/>
                    </a:lnTo>
                    <a:lnTo>
                      <a:pt x="600" y="38"/>
                    </a:lnTo>
                    <a:lnTo>
                      <a:pt x="616" y="48"/>
                    </a:lnTo>
                    <a:lnTo>
                      <a:pt x="632" y="60"/>
                    </a:lnTo>
                    <a:lnTo>
                      <a:pt x="646" y="72"/>
                    </a:lnTo>
                    <a:lnTo>
                      <a:pt x="658" y="86"/>
                    </a:lnTo>
                    <a:lnTo>
                      <a:pt x="658" y="86"/>
                    </a:lnTo>
                    <a:lnTo>
                      <a:pt x="684" y="116"/>
                    </a:lnTo>
                    <a:lnTo>
                      <a:pt x="706" y="148"/>
                    </a:lnTo>
                    <a:lnTo>
                      <a:pt x="724" y="184"/>
                    </a:lnTo>
                    <a:lnTo>
                      <a:pt x="740" y="224"/>
                    </a:lnTo>
                    <a:lnTo>
                      <a:pt x="740" y="224"/>
                    </a:lnTo>
                    <a:lnTo>
                      <a:pt x="752" y="266"/>
                    </a:lnTo>
                    <a:lnTo>
                      <a:pt x="760" y="312"/>
                    </a:lnTo>
                    <a:lnTo>
                      <a:pt x="764" y="358"/>
                    </a:lnTo>
                    <a:lnTo>
                      <a:pt x="764" y="406"/>
                    </a:lnTo>
                    <a:lnTo>
                      <a:pt x="764" y="406"/>
                    </a:lnTo>
                    <a:lnTo>
                      <a:pt x="762" y="458"/>
                    </a:lnTo>
                    <a:lnTo>
                      <a:pt x="754" y="508"/>
                    </a:lnTo>
                    <a:lnTo>
                      <a:pt x="742" y="560"/>
                    </a:lnTo>
                    <a:lnTo>
                      <a:pt x="726" y="612"/>
                    </a:lnTo>
                    <a:lnTo>
                      <a:pt x="726" y="612"/>
                    </a:lnTo>
                    <a:lnTo>
                      <a:pt x="704" y="662"/>
                    </a:lnTo>
                    <a:lnTo>
                      <a:pt x="682" y="710"/>
                    </a:lnTo>
                    <a:lnTo>
                      <a:pt x="654" y="754"/>
                    </a:lnTo>
                    <a:lnTo>
                      <a:pt x="626" y="794"/>
                    </a:lnTo>
                    <a:lnTo>
                      <a:pt x="626" y="794"/>
                    </a:lnTo>
                    <a:lnTo>
                      <a:pt x="594" y="832"/>
                    </a:lnTo>
                    <a:lnTo>
                      <a:pt x="562" y="864"/>
                    </a:lnTo>
                    <a:lnTo>
                      <a:pt x="526" y="894"/>
                    </a:lnTo>
                    <a:lnTo>
                      <a:pt x="490" y="920"/>
                    </a:lnTo>
                    <a:lnTo>
                      <a:pt x="490" y="920"/>
                    </a:lnTo>
                    <a:lnTo>
                      <a:pt x="454" y="940"/>
                    </a:lnTo>
                    <a:lnTo>
                      <a:pt x="416" y="956"/>
                    </a:lnTo>
                    <a:lnTo>
                      <a:pt x="378" y="968"/>
                    </a:lnTo>
                    <a:lnTo>
                      <a:pt x="340" y="974"/>
                    </a:lnTo>
                    <a:lnTo>
                      <a:pt x="340" y="974"/>
                    </a:lnTo>
                    <a:lnTo>
                      <a:pt x="320" y="976"/>
                    </a:lnTo>
                    <a:lnTo>
                      <a:pt x="302" y="976"/>
                    </a:lnTo>
                    <a:lnTo>
                      <a:pt x="284" y="976"/>
                    </a:lnTo>
                    <a:lnTo>
                      <a:pt x="264" y="974"/>
                    </a:lnTo>
                    <a:lnTo>
                      <a:pt x="246" y="970"/>
                    </a:lnTo>
                    <a:lnTo>
                      <a:pt x="228" y="966"/>
                    </a:lnTo>
                    <a:lnTo>
                      <a:pt x="210" y="960"/>
                    </a:lnTo>
                    <a:lnTo>
                      <a:pt x="194" y="954"/>
                    </a:lnTo>
                    <a:lnTo>
                      <a:pt x="194" y="954"/>
                    </a:lnTo>
                    <a:lnTo>
                      <a:pt x="176" y="946"/>
                    </a:lnTo>
                    <a:lnTo>
                      <a:pt x="160" y="936"/>
                    </a:lnTo>
                    <a:lnTo>
                      <a:pt x="146" y="926"/>
                    </a:lnTo>
                    <a:lnTo>
                      <a:pt x="130" y="914"/>
                    </a:lnTo>
                    <a:lnTo>
                      <a:pt x="104" y="888"/>
                    </a:lnTo>
                    <a:lnTo>
                      <a:pt x="80" y="860"/>
                    </a:lnTo>
                    <a:lnTo>
                      <a:pt x="80" y="860"/>
                    </a:lnTo>
                    <a:lnTo>
                      <a:pt x="60" y="828"/>
                    </a:lnTo>
                    <a:lnTo>
                      <a:pt x="42" y="794"/>
                    </a:lnTo>
                    <a:lnTo>
                      <a:pt x="26" y="758"/>
                    </a:lnTo>
                    <a:lnTo>
                      <a:pt x="16" y="718"/>
                    </a:lnTo>
                    <a:lnTo>
                      <a:pt x="16" y="718"/>
                    </a:lnTo>
                    <a:lnTo>
                      <a:pt x="6" y="678"/>
                    </a:lnTo>
                    <a:lnTo>
                      <a:pt x="2" y="636"/>
                    </a:lnTo>
                    <a:lnTo>
                      <a:pt x="0" y="594"/>
                    </a:lnTo>
                    <a:lnTo>
                      <a:pt x="0" y="548"/>
                    </a:lnTo>
                    <a:lnTo>
                      <a:pt x="0" y="548"/>
                    </a:lnTo>
                    <a:lnTo>
                      <a:pt x="4" y="504"/>
                    </a:lnTo>
                    <a:lnTo>
                      <a:pt x="12" y="458"/>
                    </a:lnTo>
                    <a:lnTo>
                      <a:pt x="24" y="412"/>
                    </a:lnTo>
                    <a:lnTo>
                      <a:pt x="40" y="366"/>
                    </a:lnTo>
                    <a:lnTo>
                      <a:pt x="40" y="366"/>
                    </a:lnTo>
                    <a:lnTo>
                      <a:pt x="56" y="320"/>
                    </a:lnTo>
                    <a:lnTo>
                      <a:pt x="78" y="278"/>
                    </a:lnTo>
                    <a:lnTo>
                      <a:pt x="100" y="236"/>
                    </a:lnTo>
                    <a:lnTo>
                      <a:pt x="126" y="200"/>
                    </a:lnTo>
                    <a:lnTo>
                      <a:pt x="126" y="200"/>
                    </a:lnTo>
                    <a:lnTo>
                      <a:pt x="154" y="164"/>
                    </a:lnTo>
                    <a:lnTo>
                      <a:pt x="182" y="132"/>
                    </a:lnTo>
                    <a:lnTo>
                      <a:pt x="214" y="102"/>
                    </a:lnTo>
                    <a:lnTo>
                      <a:pt x="246" y="76"/>
                    </a:lnTo>
                    <a:lnTo>
                      <a:pt x="246" y="76"/>
                    </a:lnTo>
                    <a:lnTo>
                      <a:pt x="280" y="54"/>
                    </a:lnTo>
                    <a:lnTo>
                      <a:pt x="314" y="36"/>
                    </a:lnTo>
                    <a:lnTo>
                      <a:pt x="350" y="20"/>
                    </a:lnTo>
                    <a:lnTo>
                      <a:pt x="386" y="10"/>
                    </a:lnTo>
                    <a:lnTo>
                      <a:pt x="386" y="10"/>
                    </a:lnTo>
                    <a:lnTo>
                      <a:pt x="422" y="2"/>
                    </a:lnTo>
                    <a:lnTo>
                      <a:pt x="460" y="0"/>
                    </a:lnTo>
                    <a:lnTo>
                      <a:pt x="478" y="0"/>
                    </a:lnTo>
                    <a:lnTo>
                      <a:pt x="496" y="2"/>
                    </a:lnTo>
                    <a:lnTo>
                      <a:pt x="514" y="6"/>
                    </a:lnTo>
                    <a:lnTo>
                      <a:pt x="532" y="10"/>
                    </a:lnTo>
                    <a:close/>
                  </a:path>
                </a:pathLst>
              </a:custGeom>
              <a:solidFill>
                <a:srgbClr val="FFC000"/>
              </a:solidFill>
              <a:ln>
                <a:noFill/>
              </a:ln>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0" name="Freeform 204"/>
              <p:cNvSpPr/>
              <p:nvPr>
                <p:custDataLst>
                  <p:tags r:id="rId18"/>
                </p:custDataLst>
              </p:nvPr>
            </p:nvSpPr>
            <p:spPr bwMode="auto">
              <a:xfrm>
                <a:off x="3381828" y="3151472"/>
                <a:ext cx="811393" cy="1036546"/>
              </a:xfrm>
              <a:custGeom>
                <a:avLst/>
                <a:gdLst>
                  <a:gd name="T0" fmla="*/ 532 w 764"/>
                  <a:gd name="T1" fmla="*/ 10 h 976"/>
                  <a:gd name="T2" fmla="*/ 568 w 764"/>
                  <a:gd name="T3" fmla="*/ 22 h 976"/>
                  <a:gd name="T4" fmla="*/ 600 w 764"/>
                  <a:gd name="T5" fmla="*/ 38 h 976"/>
                  <a:gd name="T6" fmla="*/ 632 w 764"/>
                  <a:gd name="T7" fmla="*/ 60 h 976"/>
                  <a:gd name="T8" fmla="*/ 658 w 764"/>
                  <a:gd name="T9" fmla="*/ 86 h 976"/>
                  <a:gd name="T10" fmla="*/ 684 w 764"/>
                  <a:gd name="T11" fmla="*/ 116 h 976"/>
                  <a:gd name="T12" fmla="*/ 724 w 764"/>
                  <a:gd name="T13" fmla="*/ 184 h 976"/>
                  <a:gd name="T14" fmla="*/ 740 w 764"/>
                  <a:gd name="T15" fmla="*/ 224 h 976"/>
                  <a:gd name="T16" fmla="*/ 760 w 764"/>
                  <a:gd name="T17" fmla="*/ 312 h 976"/>
                  <a:gd name="T18" fmla="*/ 764 w 764"/>
                  <a:gd name="T19" fmla="*/ 406 h 976"/>
                  <a:gd name="T20" fmla="*/ 762 w 764"/>
                  <a:gd name="T21" fmla="*/ 458 h 976"/>
                  <a:gd name="T22" fmla="*/ 742 w 764"/>
                  <a:gd name="T23" fmla="*/ 560 h 976"/>
                  <a:gd name="T24" fmla="*/ 726 w 764"/>
                  <a:gd name="T25" fmla="*/ 612 h 976"/>
                  <a:gd name="T26" fmla="*/ 682 w 764"/>
                  <a:gd name="T27" fmla="*/ 710 h 976"/>
                  <a:gd name="T28" fmla="*/ 626 w 764"/>
                  <a:gd name="T29" fmla="*/ 794 h 976"/>
                  <a:gd name="T30" fmla="*/ 594 w 764"/>
                  <a:gd name="T31" fmla="*/ 832 h 976"/>
                  <a:gd name="T32" fmla="*/ 526 w 764"/>
                  <a:gd name="T33" fmla="*/ 894 h 976"/>
                  <a:gd name="T34" fmla="*/ 490 w 764"/>
                  <a:gd name="T35" fmla="*/ 920 h 976"/>
                  <a:gd name="T36" fmla="*/ 416 w 764"/>
                  <a:gd name="T37" fmla="*/ 956 h 976"/>
                  <a:gd name="T38" fmla="*/ 340 w 764"/>
                  <a:gd name="T39" fmla="*/ 974 h 976"/>
                  <a:gd name="T40" fmla="*/ 320 w 764"/>
                  <a:gd name="T41" fmla="*/ 976 h 976"/>
                  <a:gd name="T42" fmla="*/ 284 w 764"/>
                  <a:gd name="T43" fmla="*/ 976 h 976"/>
                  <a:gd name="T44" fmla="*/ 246 w 764"/>
                  <a:gd name="T45" fmla="*/ 970 h 976"/>
                  <a:gd name="T46" fmla="*/ 210 w 764"/>
                  <a:gd name="T47" fmla="*/ 960 h 976"/>
                  <a:gd name="T48" fmla="*/ 194 w 764"/>
                  <a:gd name="T49" fmla="*/ 954 h 976"/>
                  <a:gd name="T50" fmla="*/ 160 w 764"/>
                  <a:gd name="T51" fmla="*/ 936 h 976"/>
                  <a:gd name="T52" fmla="*/ 130 w 764"/>
                  <a:gd name="T53" fmla="*/ 914 h 976"/>
                  <a:gd name="T54" fmla="*/ 80 w 764"/>
                  <a:gd name="T55" fmla="*/ 860 h 976"/>
                  <a:gd name="T56" fmla="*/ 60 w 764"/>
                  <a:gd name="T57" fmla="*/ 828 h 976"/>
                  <a:gd name="T58" fmla="*/ 26 w 764"/>
                  <a:gd name="T59" fmla="*/ 758 h 976"/>
                  <a:gd name="T60" fmla="*/ 16 w 764"/>
                  <a:gd name="T61" fmla="*/ 718 h 976"/>
                  <a:gd name="T62" fmla="*/ 2 w 764"/>
                  <a:gd name="T63" fmla="*/ 636 h 976"/>
                  <a:gd name="T64" fmla="*/ 0 w 764"/>
                  <a:gd name="T65" fmla="*/ 548 h 976"/>
                  <a:gd name="T66" fmla="*/ 4 w 764"/>
                  <a:gd name="T67" fmla="*/ 504 h 976"/>
                  <a:gd name="T68" fmla="*/ 24 w 764"/>
                  <a:gd name="T69" fmla="*/ 412 h 976"/>
                  <a:gd name="T70" fmla="*/ 40 w 764"/>
                  <a:gd name="T71" fmla="*/ 366 h 976"/>
                  <a:gd name="T72" fmla="*/ 78 w 764"/>
                  <a:gd name="T73" fmla="*/ 278 h 976"/>
                  <a:gd name="T74" fmla="*/ 126 w 764"/>
                  <a:gd name="T75" fmla="*/ 200 h 976"/>
                  <a:gd name="T76" fmla="*/ 154 w 764"/>
                  <a:gd name="T77" fmla="*/ 164 h 976"/>
                  <a:gd name="T78" fmla="*/ 214 w 764"/>
                  <a:gd name="T79" fmla="*/ 102 h 976"/>
                  <a:gd name="T80" fmla="*/ 246 w 764"/>
                  <a:gd name="T81" fmla="*/ 76 h 976"/>
                  <a:gd name="T82" fmla="*/ 314 w 764"/>
                  <a:gd name="T83" fmla="*/ 36 h 976"/>
                  <a:gd name="T84" fmla="*/ 386 w 764"/>
                  <a:gd name="T85" fmla="*/ 10 h 976"/>
                  <a:gd name="T86" fmla="*/ 422 w 764"/>
                  <a:gd name="T87" fmla="*/ 2 h 976"/>
                  <a:gd name="T88" fmla="*/ 478 w 764"/>
                  <a:gd name="T89" fmla="*/ 0 h 976"/>
                  <a:gd name="T90" fmla="*/ 514 w 764"/>
                  <a:gd name="T91" fmla="*/ 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4" h="976">
                    <a:moveTo>
                      <a:pt x="532" y="10"/>
                    </a:moveTo>
                    <a:lnTo>
                      <a:pt x="532" y="10"/>
                    </a:lnTo>
                    <a:lnTo>
                      <a:pt x="550" y="14"/>
                    </a:lnTo>
                    <a:lnTo>
                      <a:pt x="568" y="22"/>
                    </a:lnTo>
                    <a:lnTo>
                      <a:pt x="584" y="30"/>
                    </a:lnTo>
                    <a:lnTo>
                      <a:pt x="600" y="38"/>
                    </a:lnTo>
                    <a:lnTo>
                      <a:pt x="616" y="48"/>
                    </a:lnTo>
                    <a:lnTo>
                      <a:pt x="632" y="60"/>
                    </a:lnTo>
                    <a:lnTo>
                      <a:pt x="646" y="72"/>
                    </a:lnTo>
                    <a:lnTo>
                      <a:pt x="658" y="86"/>
                    </a:lnTo>
                    <a:lnTo>
                      <a:pt x="658" y="86"/>
                    </a:lnTo>
                    <a:lnTo>
                      <a:pt x="684" y="116"/>
                    </a:lnTo>
                    <a:lnTo>
                      <a:pt x="706" y="148"/>
                    </a:lnTo>
                    <a:lnTo>
                      <a:pt x="724" y="184"/>
                    </a:lnTo>
                    <a:lnTo>
                      <a:pt x="740" y="224"/>
                    </a:lnTo>
                    <a:lnTo>
                      <a:pt x="740" y="224"/>
                    </a:lnTo>
                    <a:lnTo>
                      <a:pt x="752" y="266"/>
                    </a:lnTo>
                    <a:lnTo>
                      <a:pt x="760" y="312"/>
                    </a:lnTo>
                    <a:lnTo>
                      <a:pt x="764" y="358"/>
                    </a:lnTo>
                    <a:lnTo>
                      <a:pt x="764" y="406"/>
                    </a:lnTo>
                    <a:lnTo>
                      <a:pt x="764" y="406"/>
                    </a:lnTo>
                    <a:lnTo>
                      <a:pt x="762" y="458"/>
                    </a:lnTo>
                    <a:lnTo>
                      <a:pt x="754" y="508"/>
                    </a:lnTo>
                    <a:lnTo>
                      <a:pt x="742" y="560"/>
                    </a:lnTo>
                    <a:lnTo>
                      <a:pt x="726" y="612"/>
                    </a:lnTo>
                    <a:lnTo>
                      <a:pt x="726" y="612"/>
                    </a:lnTo>
                    <a:lnTo>
                      <a:pt x="704" y="662"/>
                    </a:lnTo>
                    <a:lnTo>
                      <a:pt x="682" y="710"/>
                    </a:lnTo>
                    <a:lnTo>
                      <a:pt x="654" y="754"/>
                    </a:lnTo>
                    <a:lnTo>
                      <a:pt x="626" y="794"/>
                    </a:lnTo>
                    <a:lnTo>
                      <a:pt x="626" y="794"/>
                    </a:lnTo>
                    <a:lnTo>
                      <a:pt x="594" y="832"/>
                    </a:lnTo>
                    <a:lnTo>
                      <a:pt x="562" y="864"/>
                    </a:lnTo>
                    <a:lnTo>
                      <a:pt x="526" y="894"/>
                    </a:lnTo>
                    <a:lnTo>
                      <a:pt x="490" y="920"/>
                    </a:lnTo>
                    <a:lnTo>
                      <a:pt x="490" y="920"/>
                    </a:lnTo>
                    <a:lnTo>
                      <a:pt x="454" y="940"/>
                    </a:lnTo>
                    <a:lnTo>
                      <a:pt x="416" y="956"/>
                    </a:lnTo>
                    <a:lnTo>
                      <a:pt x="378" y="968"/>
                    </a:lnTo>
                    <a:lnTo>
                      <a:pt x="340" y="974"/>
                    </a:lnTo>
                    <a:lnTo>
                      <a:pt x="340" y="974"/>
                    </a:lnTo>
                    <a:lnTo>
                      <a:pt x="320" y="976"/>
                    </a:lnTo>
                    <a:lnTo>
                      <a:pt x="302" y="976"/>
                    </a:lnTo>
                    <a:lnTo>
                      <a:pt x="284" y="976"/>
                    </a:lnTo>
                    <a:lnTo>
                      <a:pt x="264" y="974"/>
                    </a:lnTo>
                    <a:lnTo>
                      <a:pt x="246" y="970"/>
                    </a:lnTo>
                    <a:lnTo>
                      <a:pt x="228" y="966"/>
                    </a:lnTo>
                    <a:lnTo>
                      <a:pt x="210" y="960"/>
                    </a:lnTo>
                    <a:lnTo>
                      <a:pt x="194" y="954"/>
                    </a:lnTo>
                    <a:lnTo>
                      <a:pt x="194" y="954"/>
                    </a:lnTo>
                    <a:lnTo>
                      <a:pt x="176" y="946"/>
                    </a:lnTo>
                    <a:lnTo>
                      <a:pt x="160" y="936"/>
                    </a:lnTo>
                    <a:lnTo>
                      <a:pt x="146" y="926"/>
                    </a:lnTo>
                    <a:lnTo>
                      <a:pt x="130" y="914"/>
                    </a:lnTo>
                    <a:lnTo>
                      <a:pt x="104" y="888"/>
                    </a:lnTo>
                    <a:lnTo>
                      <a:pt x="80" y="860"/>
                    </a:lnTo>
                    <a:lnTo>
                      <a:pt x="80" y="860"/>
                    </a:lnTo>
                    <a:lnTo>
                      <a:pt x="60" y="828"/>
                    </a:lnTo>
                    <a:lnTo>
                      <a:pt x="42" y="794"/>
                    </a:lnTo>
                    <a:lnTo>
                      <a:pt x="26" y="758"/>
                    </a:lnTo>
                    <a:lnTo>
                      <a:pt x="16" y="718"/>
                    </a:lnTo>
                    <a:lnTo>
                      <a:pt x="16" y="718"/>
                    </a:lnTo>
                    <a:lnTo>
                      <a:pt x="6" y="678"/>
                    </a:lnTo>
                    <a:lnTo>
                      <a:pt x="2" y="636"/>
                    </a:lnTo>
                    <a:lnTo>
                      <a:pt x="0" y="594"/>
                    </a:lnTo>
                    <a:lnTo>
                      <a:pt x="0" y="548"/>
                    </a:lnTo>
                    <a:lnTo>
                      <a:pt x="0" y="548"/>
                    </a:lnTo>
                    <a:lnTo>
                      <a:pt x="4" y="504"/>
                    </a:lnTo>
                    <a:lnTo>
                      <a:pt x="12" y="458"/>
                    </a:lnTo>
                    <a:lnTo>
                      <a:pt x="24" y="412"/>
                    </a:lnTo>
                    <a:lnTo>
                      <a:pt x="40" y="366"/>
                    </a:lnTo>
                    <a:lnTo>
                      <a:pt x="40" y="366"/>
                    </a:lnTo>
                    <a:lnTo>
                      <a:pt x="56" y="320"/>
                    </a:lnTo>
                    <a:lnTo>
                      <a:pt x="78" y="278"/>
                    </a:lnTo>
                    <a:lnTo>
                      <a:pt x="100" y="236"/>
                    </a:lnTo>
                    <a:lnTo>
                      <a:pt x="126" y="200"/>
                    </a:lnTo>
                    <a:lnTo>
                      <a:pt x="126" y="200"/>
                    </a:lnTo>
                    <a:lnTo>
                      <a:pt x="154" y="164"/>
                    </a:lnTo>
                    <a:lnTo>
                      <a:pt x="182" y="132"/>
                    </a:lnTo>
                    <a:lnTo>
                      <a:pt x="214" y="102"/>
                    </a:lnTo>
                    <a:lnTo>
                      <a:pt x="246" y="76"/>
                    </a:lnTo>
                    <a:lnTo>
                      <a:pt x="246" y="76"/>
                    </a:lnTo>
                    <a:lnTo>
                      <a:pt x="280" y="54"/>
                    </a:lnTo>
                    <a:lnTo>
                      <a:pt x="314" y="36"/>
                    </a:lnTo>
                    <a:lnTo>
                      <a:pt x="350" y="20"/>
                    </a:lnTo>
                    <a:lnTo>
                      <a:pt x="386" y="10"/>
                    </a:lnTo>
                    <a:lnTo>
                      <a:pt x="386" y="10"/>
                    </a:lnTo>
                    <a:lnTo>
                      <a:pt x="422" y="2"/>
                    </a:lnTo>
                    <a:lnTo>
                      <a:pt x="460" y="0"/>
                    </a:lnTo>
                    <a:lnTo>
                      <a:pt x="478" y="0"/>
                    </a:lnTo>
                    <a:lnTo>
                      <a:pt x="496" y="2"/>
                    </a:lnTo>
                    <a:lnTo>
                      <a:pt x="514" y="6"/>
                    </a:lnTo>
                    <a:lnTo>
                      <a:pt x="53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1" name="Freeform 206"/>
              <p:cNvSpPr/>
              <p:nvPr>
                <p:custDataLst>
                  <p:tags r:id="rId19"/>
                </p:custDataLst>
              </p:nvPr>
            </p:nvSpPr>
            <p:spPr bwMode="auto">
              <a:xfrm>
                <a:off x="3734424" y="3151472"/>
                <a:ext cx="463046" cy="1036546"/>
              </a:xfrm>
              <a:custGeom>
                <a:avLst/>
                <a:gdLst>
                  <a:gd name="T0" fmla="*/ 436 w 436"/>
                  <a:gd name="T1" fmla="*/ 408 h 976"/>
                  <a:gd name="T2" fmla="*/ 430 w 436"/>
                  <a:gd name="T3" fmla="*/ 312 h 976"/>
                  <a:gd name="T4" fmla="*/ 410 w 436"/>
                  <a:gd name="T5" fmla="*/ 224 h 976"/>
                  <a:gd name="T6" fmla="*/ 394 w 436"/>
                  <a:gd name="T7" fmla="*/ 184 h 976"/>
                  <a:gd name="T8" fmla="*/ 354 w 436"/>
                  <a:gd name="T9" fmla="*/ 116 h 976"/>
                  <a:gd name="T10" fmla="*/ 328 w 436"/>
                  <a:gd name="T11" fmla="*/ 86 h 976"/>
                  <a:gd name="T12" fmla="*/ 300 w 436"/>
                  <a:gd name="T13" fmla="*/ 60 h 976"/>
                  <a:gd name="T14" fmla="*/ 270 w 436"/>
                  <a:gd name="T15" fmla="*/ 38 h 976"/>
                  <a:gd name="T16" fmla="*/ 238 w 436"/>
                  <a:gd name="T17" fmla="*/ 22 h 976"/>
                  <a:gd name="T18" fmla="*/ 202 w 436"/>
                  <a:gd name="T19" fmla="*/ 10 h 976"/>
                  <a:gd name="T20" fmla="*/ 170 w 436"/>
                  <a:gd name="T21" fmla="*/ 2 h 976"/>
                  <a:gd name="T22" fmla="*/ 106 w 436"/>
                  <a:gd name="T23" fmla="*/ 0 h 976"/>
                  <a:gd name="T24" fmla="*/ 74 w 436"/>
                  <a:gd name="T25" fmla="*/ 4 h 976"/>
                  <a:gd name="T26" fmla="*/ 124 w 436"/>
                  <a:gd name="T27" fmla="*/ 4 h 976"/>
                  <a:gd name="T28" fmla="*/ 174 w 436"/>
                  <a:gd name="T29" fmla="*/ 14 h 976"/>
                  <a:gd name="T30" fmla="*/ 192 w 436"/>
                  <a:gd name="T31" fmla="*/ 18 h 976"/>
                  <a:gd name="T32" fmla="*/ 226 w 436"/>
                  <a:gd name="T33" fmla="*/ 34 h 976"/>
                  <a:gd name="T34" fmla="*/ 258 w 436"/>
                  <a:gd name="T35" fmla="*/ 52 h 976"/>
                  <a:gd name="T36" fmla="*/ 288 w 436"/>
                  <a:gd name="T37" fmla="*/ 76 h 976"/>
                  <a:gd name="T38" fmla="*/ 302 w 436"/>
                  <a:gd name="T39" fmla="*/ 90 h 976"/>
                  <a:gd name="T40" fmla="*/ 348 w 436"/>
                  <a:gd name="T41" fmla="*/ 152 h 976"/>
                  <a:gd name="T42" fmla="*/ 382 w 436"/>
                  <a:gd name="T43" fmla="*/ 228 h 976"/>
                  <a:gd name="T44" fmla="*/ 394 w 436"/>
                  <a:gd name="T45" fmla="*/ 270 h 976"/>
                  <a:gd name="T46" fmla="*/ 408 w 436"/>
                  <a:gd name="T47" fmla="*/ 362 h 976"/>
                  <a:gd name="T48" fmla="*/ 408 w 436"/>
                  <a:gd name="T49" fmla="*/ 410 h 976"/>
                  <a:gd name="T50" fmla="*/ 396 w 436"/>
                  <a:gd name="T51" fmla="*/ 512 h 976"/>
                  <a:gd name="T52" fmla="*/ 368 w 436"/>
                  <a:gd name="T53" fmla="*/ 616 h 976"/>
                  <a:gd name="T54" fmla="*/ 348 w 436"/>
                  <a:gd name="T55" fmla="*/ 666 h 976"/>
                  <a:gd name="T56" fmla="*/ 298 w 436"/>
                  <a:gd name="T57" fmla="*/ 758 h 976"/>
                  <a:gd name="T58" fmla="*/ 268 w 436"/>
                  <a:gd name="T59" fmla="*/ 798 h 976"/>
                  <a:gd name="T60" fmla="*/ 204 w 436"/>
                  <a:gd name="T61" fmla="*/ 868 h 976"/>
                  <a:gd name="T62" fmla="*/ 132 w 436"/>
                  <a:gd name="T63" fmla="*/ 924 h 976"/>
                  <a:gd name="T64" fmla="*/ 100 w 436"/>
                  <a:gd name="T65" fmla="*/ 942 h 976"/>
                  <a:gd name="T66" fmla="*/ 34 w 436"/>
                  <a:gd name="T67" fmla="*/ 968 h 976"/>
                  <a:gd name="T68" fmla="*/ 0 w 436"/>
                  <a:gd name="T69" fmla="*/ 976 h 976"/>
                  <a:gd name="T70" fmla="*/ 8 w 436"/>
                  <a:gd name="T71" fmla="*/ 974 h 976"/>
                  <a:gd name="T72" fmla="*/ 84 w 436"/>
                  <a:gd name="T73" fmla="*/ 956 h 976"/>
                  <a:gd name="T74" fmla="*/ 160 w 436"/>
                  <a:gd name="T75" fmla="*/ 920 h 976"/>
                  <a:gd name="T76" fmla="*/ 196 w 436"/>
                  <a:gd name="T77" fmla="*/ 894 h 976"/>
                  <a:gd name="T78" fmla="*/ 264 w 436"/>
                  <a:gd name="T79" fmla="*/ 832 h 976"/>
                  <a:gd name="T80" fmla="*/ 296 w 436"/>
                  <a:gd name="T81" fmla="*/ 794 h 976"/>
                  <a:gd name="T82" fmla="*/ 352 w 436"/>
                  <a:gd name="T83" fmla="*/ 710 h 976"/>
                  <a:gd name="T84" fmla="*/ 396 w 436"/>
                  <a:gd name="T85" fmla="*/ 612 h 976"/>
                  <a:gd name="T86" fmla="*/ 412 w 436"/>
                  <a:gd name="T87" fmla="*/ 560 h 976"/>
                  <a:gd name="T88" fmla="*/ 432 w 436"/>
                  <a:gd name="T89" fmla="*/ 458 h 976"/>
                  <a:gd name="T90" fmla="*/ 436 w 436"/>
                  <a:gd name="T91" fmla="*/ 408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6" h="976">
                    <a:moveTo>
                      <a:pt x="436" y="408"/>
                    </a:moveTo>
                    <a:lnTo>
                      <a:pt x="436" y="408"/>
                    </a:lnTo>
                    <a:lnTo>
                      <a:pt x="436" y="358"/>
                    </a:lnTo>
                    <a:lnTo>
                      <a:pt x="430" y="312"/>
                    </a:lnTo>
                    <a:lnTo>
                      <a:pt x="422" y="266"/>
                    </a:lnTo>
                    <a:lnTo>
                      <a:pt x="410" y="224"/>
                    </a:lnTo>
                    <a:lnTo>
                      <a:pt x="410" y="224"/>
                    </a:lnTo>
                    <a:lnTo>
                      <a:pt x="394" y="184"/>
                    </a:lnTo>
                    <a:lnTo>
                      <a:pt x="376" y="148"/>
                    </a:lnTo>
                    <a:lnTo>
                      <a:pt x="354" y="116"/>
                    </a:lnTo>
                    <a:lnTo>
                      <a:pt x="328" y="86"/>
                    </a:lnTo>
                    <a:lnTo>
                      <a:pt x="328" y="86"/>
                    </a:lnTo>
                    <a:lnTo>
                      <a:pt x="316" y="72"/>
                    </a:lnTo>
                    <a:lnTo>
                      <a:pt x="300" y="60"/>
                    </a:lnTo>
                    <a:lnTo>
                      <a:pt x="286" y="50"/>
                    </a:lnTo>
                    <a:lnTo>
                      <a:pt x="270" y="38"/>
                    </a:lnTo>
                    <a:lnTo>
                      <a:pt x="254" y="30"/>
                    </a:lnTo>
                    <a:lnTo>
                      <a:pt x="238" y="22"/>
                    </a:lnTo>
                    <a:lnTo>
                      <a:pt x="220" y="16"/>
                    </a:lnTo>
                    <a:lnTo>
                      <a:pt x="202" y="10"/>
                    </a:lnTo>
                    <a:lnTo>
                      <a:pt x="202" y="10"/>
                    </a:lnTo>
                    <a:lnTo>
                      <a:pt x="170" y="2"/>
                    </a:lnTo>
                    <a:lnTo>
                      <a:pt x="138" y="0"/>
                    </a:lnTo>
                    <a:lnTo>
                      <a:pt x="106" y="0"/>
                    </a:lnTo>
                    <a:lnTo>
                      <a:pt x="74" y="4"/>
                    </a:lnTo>
                    <a:lnTo>
                      <a:pt x="74" y="4"/>
                    </a:lnTo>
                    <a:lnTo>
                      <a:pt x="98" y="4"/>
                    </a:lnTo>
                    <a:lnTo>
                      <a:pt x="124" y="4"/>
                    </a:lnTo>
                    <a:lnTo>
                      <a:pt x="148" y="8"/>
                    </a:lnTo>
                    <a:lnTo>
                      <a:pt x="174" y="14"/>
                    </a:lnTo>
                    <a:lnTo>
                      <a:pt x="174" y="14"/>
                    </a:lnTo>
                    <a:lnTo>
                      <a:pt x="192" y="18"/>
                    </a:lnTo>
                    <a:lnTo>
                      <a:pt x="210" y="26"/>
                    </a:lnTo>
                    <a:lnTo>
                      <a:pt x="226" y="34"/>
                    </a:lnTo>
                    <a:lnTo>
                      <a:pt x="242" y="42"/>
                    </a:lnTo>
                    <a:lnTo>
                      <a:pt x="258" y="52"/>
                    </a:lnTo>
                    <a:lnTo>
                      <a:pt x="274" y="64"/>
                    </a:lnTo>
                    <a:lnTo>
                      <a:pt x="288" y="76"/>
                    </a:lnTo>
                    <a:lnTo>
                      <a:pt x="302" y="90"/>
                    </a:lnTo>
                    <a:lnTo>
                      <a:pt x="302" y="90"/>
                    </a:lnTo>
                    <a:lnTo>
                      <a:pt x="326" y="118"/>
                    </a:lnTo>
                    <a:lnTo>
                      <a:pt x="348" y="152"/>
                    </a:lnTo>
                    <a:lnTo>
                      <a:pt x="368" y="188"/>
                    </a:lnTo>
                    <a:lnTo>
                      <a:pt x="382" y="228"/>
                    </a:lnTo>
                    <a:lnTo>
                      <a:pt x="382" y="228"/>
                    </a:lnTo>
                    <a:lnTo>
                      <a:pt x="394" y="270"/>
                    </a:lnTo>
                    <a:lnTo>
                      <a:pt x="402" y="316"/>
                    </a:lnTo>
                    <a:lnTo>
                      <a:pt x="408" y="362"/>
                    </a:lnTo>
                    <a:lnTo>
                      <a:pt x="408" y="410"/>
                    </a:lnTo>
                    <a:lnTo>
                      <a:pt x="408" y="410"/>
                    </a:lnTo>
                    <a:lnTo>
                      <a:pt x="404" y="460"/>
                    </a:lnTo>
                    <a:lnTo>
                      <a:pt x="396" y="512"/>
                    </a:lnTo>
                    <a:lnTo>
                      <a:pt x="384" y="564"/>
                    </a:lnTo>
                    <a:lnTo>
                      <a:pt x="368" y="616"/>
                    </a:lnTo>
                    <a:lnTo>
                      <a:pt x="368" y="616"/>
                    </a:lnTo>
                    <a:lnTo>
                      <a:pt x="348" y="666"/>
                    </a:lnTo>
                    <a:lnTo>
                      <a:pt x="324" y="714"/>
                    </a:lnTo>
                    <a:lnTo>
                      <a:pt x="298" y="758"/>
                    </a:lnTo>
                    <a:lnTo>
                      <a:pt x="268" y="798"/>
                    </a:lnTo>
                    <a:lnTo>
                      <a:pt x="268" y="798"/>
                    </a:lnTo>
                    <a:lnTo>
                      <a:pt x="236" y="836"/>
                    </a:lnTo>
                    <a:lnTo>
                      <a:pt x="204" y="868"/>
                    </a:lnTo>
                    <a:lnTo>
                      <a:pt x="168" y="898"/>
                    </a:lnTo>
                    <a:lnTo>
                      <a:pt x="132" y="924"/>
                    </a:lnTo>
                    <a:lnTo>
                      <a:pt x="132" y="924"/>
                    </a:lnTo>
                    <a:lnTo>
                      <a:pt x="100" y="942"/>
                    </a:lnTo>
                    <a:lnTo>
                      <a:pt x="66" y="956"/>
                    </a:lnTo>
                    <a:lnTo>
                      <a:pt x="34" y="968"/>
                    </a:lnTo>
                    <a:lnTo>
                      <a:pt x="0" y="976"/>
                    </a:lnTo>
                    <a:lnTo>
                      <a:pt x="0" y="976"/>
                    </a:lnTo>
                    <a:lnTo>
                      <a:pt x="8" y="974"/>
                    </a:lnTo>
                    <a:lnTo>
                      <a:pt x="8" y="974"/>
                    </a:lnTo>
                    <a:lnTo>
                      <a:pt x="46" y="968"/>
                    </a:lnTo>
                    <a:lnTo>
                      <a:pt x="84" y="956"/>
                    </a:lnTo>
                    <a:lnTo>
                      <a:pt x="122" y="940"/>
                    </a:lnTo>
                    <a:lnTo>
                      <a:pt x="160" y="920"/>
                    </a:lnTo>
                    <a:lnTo>
                      <a:pt x="160" y="920"/>
                    </a:lnTo>
                    <a:lnTo>
                      <a:pt x="196" y="894"/>
                    </a:lnTo>
                    <a:lnTo>
                      <a:pt x="230" y="864"/>
                    </a:lnTo>
                    <a:lnTo>
                      <a:pt x="264" y="832"/>
                    </a:lnTo>
                    <a:lnTo>
                      <a:pt x="296" y="794"/>
                    </a:lnTo>
                    <a:lnTo>
                      <a:pt x="296" y="794"/>
                    </a:lnTo>
                    <a:lnTo>
                      <a:pt x="326" y="754"/>
                    </a:lnTo>
                    <a:lnTo>
                      <a:pt x="352" y="710"/>
                    </a:lnTo>
                    <a:lnTo>
                      <a:pt x="376" y="662"/>
                    </a:lnTo>
                    <a:lnTo>
                      <a:pt x="396" y="612"/>
                    </a:lnTo>
                    <a:lnTo>
                      <a:pt x="396" y="612"/>
                    </a:lnTo>
                    <a:lnTo>
                      <a:pt x="412" y="560"/>
                    </a:lnTo>
                    <a:lnTo>
                      <a:pt x="424" y="508"/>
                    </a:lnTo>
                    <a:lnTo>
                      <a:pt x="432" y="458"/>
                    </a:lnTo>
                    <a:lnTo>
                      <a:pt x="436" y="408"/>
                    </a:lnTo>
                    <a:lnTo>
                      <a:pt x="436" y="408"/>
                    </a:lnTo>
                    <a:close/>
                  </a:path>
                </a:pathLst>
              </a:custGeom>
              <a:solidFill>
                <a:srgbClr val="FFF685"/>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2" name="Freeform 207"/>
              <p:cNvSpPr/>
              <p:nvPr>
                <p:custDataLst>
                  <p:tags r:id="rId20"/>
                </p:custDataLst>
              </p:nvPr>
            </p:nvSpPr>
            <p:spPr bwMode="auto">
              <a:xfrm>
                <a:off x="3381827" y="3151472"/>
                <a:ext cx="802896" cy="1036546"/>
              </a:xfrm>
              <a:custGeom>
                <a:avLst/>
                <a:gdLst>
                  <a:gd name="T0" fmla="*/ 710 w 756"/>
                  <a:gd name="T1" fmla="*/ 640 h 976"/>
                  <a:gd name="T2" fmla="*/ 632 w 756"/>
                  <a:gd name="T3" fmla="*/ 768 h 976"/>
                  <a:gd name="T4" fmla="*/ 568 w 756"/>
                  <a:gd name="T5" fmla="*/ 836 h 976"/>
                  <a:gd name="T6" fmla="*/ 498 w 756"/>
                  <a:gd name="T7" fmla="*/ 888 h 976"/>
                  <a:gd name="T8" fmla="*/ 388 w 756"/>
                  <a:gd name="T9" fmla="*/ 936 h 976"/>
                  <a:gd name="T10" fmla="*/ 312 w 756"/>
                  <a:gd name="T11" fmla="*/ 944 h 976"/>
                  <a:gd name="T12" fmla="*/ 258 w 756"/>
                  <a:gd name="T13" fmla="*/ 938 h 976"/>
                  <a:gd name="T14" fmla="*/ 206 w 756"/>
                  <a:gd name="T15" fmla="*/ 920 h 976"/>
                  <a:gd name="T16" fmla="*/ 172 w 756"/>
                  <a:gd name="T17" fmla="*/ 904 h 976"/>
                  <a:gd name="T18" fmla="*/ 92 w 756"/>
                  <a:gd name="T19" fmla="*/ 830 h 976"/>
                  <a:gd name="T20" fmla="*/ 54 w 756"/>
                  <a:gd name="T21" fmla="*/ 766 h 976"/>
                  <a:gd name="T22" fmla="*/ 28 w 756"/>
                  <a:gd name="T23" fmla="*/ 694 h 976"/>
                  <a:gd name="T24" fmla="*/ 12 w 756"/>
                  <a:gd name="T25" fmla="*/ 572 h 976"/>
                  <a:gd name="T26" fmla="*/ 18 w 756"/>
                  <a:gd name="T27" fmla="*/ 484 h 976"/>
                  <a:gd name="T28" fmla="*/ 50 w 756"/>
                  <a:gd name="T29" fmla="*/ 352 h 976"/>
                  <a:gd name="T30" fmla="*/ 88 w 756"/>
                  <a:gd name="T31" fmla="*/ 266 h 976"/>
                  <a:gd name="T32" fmla="*/ 136 w 756"/>
                  <a:gd name="T33" fmla="*/ 192 h 976"/>
                  <a:gd name="T34" fmla="*/ 222 w 756"/>
                  <a:gd name="T35" fmla="*/ 98 h 976"/>
                  <a:gd name="T36" fmla="*/ 286 w 756"/>
                  <a:gd name="T37" fmla="*/ 52 h 976"/>
                  <a:gd name="T38" fmla="*/ 390 w 756"/>
                  <a:gd name="T39" fmla="*/ 10 h 976"/>
                  <a:gd name="T40" fmla="*/ 454 w 756"/>
                  <a:gd name="T41" fmla="*/ 0 h 976"/>
                  <a:gd name="T42" fmla="*/ 516 w 756"/>
                  <a:gd name="T43" fmla="*/ 6 h 976"/>
                  <a:gd name="T44" fmla="*/ 418 w 756"/>
                  <a:gd name="T45" fmla="*/ 2 h 976"/>
                  <a:gd name="T46" fmla="*/ 350 w 756"/>
                  <a:gd name="T47" fmla="*/ 20 h 976"/>
                  <a:gd name="T48" fmla="*/ 246 w 756"/>
                  <a:gd name="T49" fmla="*/ 76 h 976"/>
                  <a:gd name="T50" fmla="*/ 182 w 756"/>
                  <a:gd name="T51" fmla="*/ 132 h 976"/>
                  <a:gd name="T52" fmla="*/ 126 w 756"/>
                  <a:gd name="T53" fmla="*/ 200 h 976"/>
                  <a:gd name="T54" fmla="*/ 56 w 756"/>
                  <a:gd name="T55" fmla="*/ 320 h 976"/>
                  <a:gd name="T56" fmla="*/ 24 w 756"/>
                  <a:gd name="T57" fmla="*/ 412 h 976"/>
                  <a:gd name="T58" fmla="*/ 0 w 756"/>
                  <a:gd name="T59" fmla="*/ 548 h 976"/>
                  <a:gd name="T60" fmla="*/ 2 w 756"/>
                  <a:gd name="T61" fmla="*/ 636 h 976"/>
                  <a:gd name="T62" fmla="*/ 16 w 756"/>
                  <a:gd name="T63" fmla="*/ 718 h 976"/>
                  <a:gd name="T64" fmla="*/ 60 w 756"/>
                  <a:gd name="T65" fmla="*/ 828 h 976"/>
                  <a:gd name="T66" fmla="*/ 104 w 756"/>
                  <a:gd name="T67" fmla="*/ 888 h 976"/>
                  <a:gd name="T68" fmla="*/ 160 w 756"/>
                  <a:gd name="T69" fmla="*/ 936 h 976"/>
                  <a:gd name="T70" fmla="*/ 194 w 756"/>
                  <a:gd name="T71" fmla="*/ 954 h 976"/>
                  <a:gd name="T72" fmla="*/ 246 w 756"/>
                  <a:gd name="T73" fmla="*/ 970 h 976"/>
                  <a:gd name="T74" fmla="*/ 302 w 756"/>
                  <a:gd name="T75" fmla="*/ 976 h 976"/>
                  <a:gd name="T76" fmla="*/ 340 w 756"/>
                  <a:gd name="T77" fmla="*/ 974 h 976"/>
                  <a:gd name="T78" fmla="*/ 454 w 756"/>
                  <a:gd name="T79" fmla="*/ 940 h 976"/>
                  <a:gd name="T80" fmla="*/ 526 w 756"/>
                  <a:gd name="T81" fmla="*/ 894 h 976"/>
                  <a:gd name="T82" fmla="*/ 626 w 756"/>
                  <a:gd name="T83" fmla="*/ 794 h 976"/>
                  <a:gd name="T84" fmla="*/ 682 w 756"/>
                  <a:gd name="T85" fmla="*/ 710 h 976"/>
                  <a:gd name="T86" fmla="*/ 726 w 756"/>
                  <a:gd name="T87" fmla="*/ 612 h 976"/>
                  <a:gd name="T88" fmla="*/ 750 w 756"/>
                  <a:gd name="T89" fmla="*/ 528 h 976"/>
                  <a:gd name="T90" fmla="*/ 744 w 756"/>
                  <a:gd name="T91" fmla="*/ 54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6" h="976">
                    <a:moveTo>
                      <a:pt x="730" y="592"/>
                    </a:moveTo>
                    <a:lnTo>
                      <a:pt x="730" y="592"/>
                    </a:lnTo>
                    <a:lnTo>
                      <a:pt x="710" y="640"/>
                    </a:lnTo>
                    <a:lnTo>
                      <a:pt x="686" y="686"/>
                    </a:lnTo>
                    <a:lnTo>
                      <a:pt x="660" y="730"/>
                    </a:lnTo>
                    <a:lnTo>
                      <a:pt x="632" y="768"/>
                    </a:lnTo>
                    <a:lnTo>
                      <a:pt x="632" y="768"/>
                    </a:lnTo>
                    <a:lnTo>
                      <a:pt x="600" y="804"/>
                    </a:lnTo>
                    <a:lnTo>
                      <a:pt x="568" y="836"/>
                    </a:lnTo>
                    <a:lnTo>
                      <a:pt x="534" y="864"/>
                    </a:lnTo>
                    <a:lnTo>
                      <a:pt x="498" y="888"/>
                    </a:lnTo>
                    <a:lnTo>
                      <a:pt x="498" y="888"/>
                    </a:lnTo>
                    <a:lnTo>
                      <a:pt x="462" y="908"/>
                    </a:lnTo>
                    <a:lnTo>
                      <a:pt x="424" y="924"/>
                    </a:lnTo>
                    <a:lnTo>
                      <a:pt x="388" y="936"/>
                    </a:lnTo>
                    <a:lnTo>
                      <a:pt x="350" y="942"/>
                    </a:lnTo>
                    <a:lnTo>
                      <a:pt x="350" y="942"/>
                    </a:lnTo>
                    <a:lnTo>
                      <a:pt x="312" y="944"/>
                    </a:lnTo>
                    <a:lnTo>
                      <a:pt x="294" y="942"/>
                    </a:lnTo>
                    <a:lnTo>
                      <a:pt x="276" y="940"/>
                    </a:lnTo>
                    <a:lnTo>
                      <a:pt x="258" y="938"/>
                    </a:lnTo>
                    <a:lnTo>
                      <a:pt x="240" y="932"/>
                    </a:lnTo>
                    <a:lnTo>
                      <a:pt x="222" y="928"/>
                    </a:lnTo>
                    <a:lnTo>
                      <a:pt x="206" y="920"/>
                    </a:lnTo>
                    <a:lnTo>
                      <a:pt x="206" y="920"/>
                    </a:lnTo>
                    <a:lnTo>
                      <a:pt x="188" y="912"/>
                    </a:lnTo>
                    <a:lnTo>
                      <a:pt x="172" y="904"/>
                    </a:lnTo>
                    <a:lnTo>
                      <a:pt x="144" y="882"/>
                    </a:lnTo>
                    <a:lnTo>
                      <a:pt x="116" y="858"/>
                    </a:lnTo>
                    <a:lnTo>
                      <a:pt x="92" y="830"/>
                    </a:lnTo>
                    <a:lnTo>
                      <a:pt x="92" y="830"/>
                    </a:lnTo>
                    <a:lnTo>
                      <a:pt x="72" y="800"/>
                    </a:lnTo>
                    <a:lnTo>
                      <a:pt x="54" y="766"/>
                    </a:lnTo>
                    <a:lnTo>
                      <a:pt x="40" y="730"/>
                    </a:lnTo>
                    <a:lnTo>
                      <a:pt x="28" y="694"/>
                    </a:lnTo>
                    <a:lnTo>
                      <a:pt x="28" y="694"/>
                    </a:lnTo>
                    <a:lnTo>
                      <a:pt x="20" y="654"/>
                    </a:lnTo>
                    <a:lnTo>
                      <a:pt x="14" y="614"/>
                    </a:lnTo>
                    <a:lnTo>
                      <a:pt x="12" y="572"/>
                    </a:lnTo>
                    <a:lnTo>
                      <a:pt x="14" y="528"/>
                    </a:lnTo>
                    <a:lnTo>
                      <a:pt x="14" y="528"/>
                    </a:lnTo>
                    <a:lnTo>
                      <a:pt x="18" y="484"/>
                    </a:lnTo>
                    <a:lnTo>
                      <a:pt x="24" y="440"/>
                    </a:lnTo>
                    <a:lnTo>
                      <a:pt x="36" y="396"/>
                    </a:lnTo>
                    <a:lnTo>
                      <a:pt x="50" y="352"/>
                    </a:lnTo>
                    <a:lnTo>
                      <a:pt x="50" y="352"/>
                    </a:lnTo>
                    <a:lnTo>
                      <a:pt x="68" y="308"/>
                    </a:lnTo>
                    <a:lnTo>
                      <a:pt x="88" y="266"/>
                    </a:lnTo>
                    <a:lnTo>
                      <a:pt x="110" y="228"/>
                    </a:lnTo>
                    <a:lnTo>
                      <a:pt x="136" y="192"/>
                    </a:lnTo>
                    <a:lnTo>
                      <a:pt x="136" y="192"/>
                    </a:lnTo>
                    <a:lnTo>
                      <a:pt x="162" y="158"/>
                    </a:lnTo>
                    <a:lnTo>
                      <a:pt x="192" y="126"/>
                    </a:lnTo>
                    <a:lnTo>
                      <a:pt x="222" y="98"/>
                    </a:lnTo>
                    <a:lnTo>
                      <a:pt x="254" y="74"/>
                    </a:lnTo>
                    <a:lnTo>
                      <a:pt x="254" y="74"/>
                    </a:lnTo>
                    <a:lnTo>
                      <a:pt x="286" y="52"/>
                    </a:lnTo>
                    <a:lnTo>
                      <a:pt x="320" y="34"/>
                    </a:lnTo>
                    <a:lnTo>
                      <a:pt x="356" y="20"/>
                    </a:lnTo>
                    <a:lnTo>
                      <a:pt x="390" y="10"/>
                    </a:lnTo>
                    <a:lnTo>
                      <a:pt x="390" y="10"/>
                    </a:lnTo>
                    <a:lnTo>
                      <a:pt x="422" y="4"/>
                    </a:lnTo>
                    <a:lnTo>
                      <a:pt x="454" y="0"/>
                    </a:lnTo>
                    <a:lnTo>
                      <a:pt x="484" y="2"/>
                    </a:lnTo>
                    <a:lnTo>
                      <a:pt x="516" y="6"/>
                    </a:lnTo>
                    <a:lnTo>
                      <a:pt x="516" y="6"/>
                    </a:lnTo>
                    <a:lnTo>
                      <a:pt x="484" y="0"/>
                    </a:lnTo>
                    <a:lnTo>
                      <a:pt x="450" y="0"/>
                    </a:lnTo>
                    <a:lnTo>
                      <a:pt x="418" y="2"/>
                    </a:lnTo>
                    <a:lnTo>
                      <a:pt x="386" y="10"/>
                    </a:lnTo>
                    <a:lnTo>
                      <a:pt x="386" y="10"/>
                    </a:lnTo>
                    <a:lnTo>
                      <a:pt x="350" y="20"/>
                    </a:lnTo>
                    <a:lnTo>
                      <a:pt x="314" y="36"/>
                    </a:lnTo>
                    <a:lnTo>
                      <a:pt x="280" y="54"/>
                    </a:lnTo>
                    <a:lnTo>
                      <a:pt x="246" y="76"/>
                    </a:lnTo>
                    <a:lnTo>
                      <a:pt x="246" y="76"/>
                    </a:lnTo>
                    <a:lnTo>
                      <a:pt x="214" y="102"/>
                    </a:lnTo>
                    <a:lnTo>
                      <a:pt x="182" y="132"/>
                    </a:lnTo>
                    <a:lnTo>
                      <a:pt x="154" y="164"/>
                    </a:lnTo>
                    <a:lnTo>
                      <a:pt x="126" y="200"/>
                    </a:lnTo>
                    <a:lnTo>
                      <a:pt x="126" y="200"/>
                    </a:lnTo>
                    <a:lnTo>
                      <a:pt x="100" y="236"/>
                    </a:lnTo>
                    <a:lnTo>
                      <a:pt x="78" y="278"/>
                    </a:lnTo>
                    <a:lnTo>
                      <a:pt x="56" y="320"/>
                    </a:lnTo>
                    <a:lnTo>
                      <a:pt x="40" y="366"/>
                    </a:lnTo>
                    <a:lnTo>
                      <a:pt x="40" y="366"/>
                    </a:lnTo>
                    <a:lnTo>
                      <a:pt x="24" y="412"/>
                    </a:lnTo>
                    <a:lnTo>
                      <a:pt x="12" y="458"/>
                    </a:lnTo>
                    <a:lnTo>
                      <a:pt x="4" y="504"/>
                    </a:lnTo>
                    <a:lnTo>
                      <a:pt x="0" y="548"/>
                    </a:lnTo>
                    <a:lnTo>
                      <a:pt x="0" y="548"/>
                    </a:lnTo>
                    <a:lnTo>
                      <a:pt x="0" y="594"/>
                    </a:lnTo>
                    <a:lnTo>
                      <a:pt x="2" y="636"/>
                    </a:lnTo>
                    <a:lnTo>
                      <a:pt x="6" y="678"/>
                    </a:lnTo>
                    <a:lnTo>
                      <a:pt x="16" y="718"/>
                    </a:lnTo>
                    <a:lnTo>
                      <a:pt x="16" y="718"/>
                    </a:lnTo>
                    <a:lnTo>
                      <a:pt x="26" y="758"/>
                    </a:lnTo>
                    <a:lnTo>
                      <a:pt x="42" y="794"/>
                    </a:lnTo>
                    <a:lnTo>
                      <a:pt x="60" y="828"/>
                    </a:lnTo>
                    <a:lnTo>
                      <a:pt x="80" y="860"/>
                    </a:lnTo>
                    <a:lnTo>
                      <a:pt x="80" y="860"/>
                    </a:lnTo>
                    <a:lnTo>
                      <a:pt x="104" y="888"/>
                    </a:lnTo>
                    <a:lnTo>
                      <a:pt x="130" y="914"/>
                    </a:lnTo>
                    <a:lnTo>
                      <a:pt x="146" y="926"/>
                    </a:lnTo>
                    <a:lnTo>
                      <a:pt x="160" y="936"/>
                    </a:lnTo>
                    <a:lnTo>
                      <a:pt x="176" y="946"/>
                    </a:lnTo>
                    <a:lnTo>
                      <a:pt x="194" y="954"/>
                    </a:lnTo>
                    <a:lnTo>
                      <a:pt x="194" y="954"/>
                    </a:lnTo>
                    <a:lnTo>
                      <a:pt x="210" y="960"/>
                    </a:lnTo>
                    <a:lnTo>
                      <a:pt x="228" y="966"/>
                    </a:lnTo>
                    <a:lnTo>
                      <a:pt x="246" y="970"/>
                    </a:lnTo>
                    <a:lnTo>
                      <a:pt x="264" y="974"/>
                    </a:lnTo>
                    <a:lnTo>
                      <a:pt x="284" y="976"/>
                    </a:lnTo>
                    <a:lnTo>
                      <a:pt x="302" y="976"/>
                    </a:lnTo>
                    <a:lnTo>
                      <a:pt x="320" y="976"/>
                    </a:lnTo>
                    <a:lnTo>
                      <a:pt x="340" y="974"/>
                    </a:lnTo>
                    <a:lnTo>
                      <a:pt x="340" y="974"/>
                    </a:lnTo>
                    <a:lnTo>
                      <a:pt x="378" y="968"/>
                    </a:lnTo>
                    <a:lnTo>
                      <a:pt x="416" y="956"/>
                    </a:lnTo>
                    <a:lnTo>
                      <a:pt x="454" y="940"/>
                    </a:lnTo>
                    <a:lnTo>
                      <a:pt x="490" y="920"/>
                    </a:lnTo>
                    <a:lnTo>
                      <a:pt x="490" y="920"/>
                    </a:lnTo>
                    <a:lnTo>
                      <a:pt x="526" y="894"/>
                    </a:lnTo>
                    <a:lnTo>
                      <a:pt x="562" y="864"/>
                    </a:lnTo>
                    <a:lnTo>
                      <a:pt x="594" y="832"/>
                    </a:lnTo>
                    <a:lnTo>
                      <a:pt x="626" y="794"/>
                    </a:lnTo>
                    <a:lnTo>
                      <a:pt x="626" y="794"/>
                    </a:lnTo>
                    <a:lnTo>
                      <a:pt x="654" y="754"/>
                    </a:lnTo>
                    <a:lnTo>
                      <a:pt x="682" y="710"/>
                    </a:lnTo>
                    <a:lnTo>
                      <a:pt x="704" y="662"/>
                    </a:lnTo>
                    <a:lnTo>
                      <a:pt x="726" y="612"/>
                    </a:lnTo>
                    <a:lnTo>
                      <a:pt x="726" y="612"/>
                    </a:lnTo>
                    <a:lnTo>
                      <a:pt x="734" y="584"/>
                    </a:lnTo>
                    <a:lnTo>
                      <a:pt x="742" y="556"/>
                    </a:lnTo>
                    <a:lnTo>
                      <a:pt x="750" y="528"/>
                    </a:lnTo>
                    <a:lnTo>
                      <a:pt x="756" y="500"/>
                    </a:lnTo>
                    <a:lnTo>
                      <a:pt x="756" y="500"/>
                    </a:lnTo>
                    <a:lnTo>
                      <a:pt x="744" y="546"/>
                    </a:lnTo>
                    <a:lnTo>
                      <a:pt x="730" y="592"/>
                    </a:lnTo>
                    <a:close/>
                  </a:path>
                </a:pathLst>
              </a:custGeom>
              <a:solidFill>
                <a:srgbClr val="FFF9AE"/>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3" name="Freeform 208"/>
              <p:cNvSpPr/>
              <p:nvPr>
                <p:custDataLst>
                  <p:tags r:id="rId21"/>
                </p:custDataLst>
              </p:nvPr>
            </p:nvSpPr>
            <p:spPr bwMode="auto">
              <a:xfrm>
                <a:off x="3381828" y="3151473"/>
                <a:ext cx="802896" cy="1036546"/>
              </a:xfrm>
              <a:custGeom>
                <a:avLst/>
                <a:gdLst>
                  <a:gd name="T0" fmla="*/ 710 w 756"/>
                  <a:gd name="T1" fmla="*/ 640 h 976"/>
                  <a:gd name="T2" fmla="*/ 632 w 756"/>
                  <a:gd name="T3" fmla="*/ 768 h 976"/>
                  <a:gd name="T4" fmla="*/ 568 w 756"/>
                  <a:gd name="T5" fmla="*/ 836 h 976"/>
                  <a:gd name="T6" fmla="*/ 498 w 756"/>
                  <a:gd name="T7" fmla="*/ 888 h 976"/>
                  <a:gd name="T8" fmla="*/ 388 w 756"/>
                  <a:gd name="T9" fmla="*/ 936 h 976"/>
                  <a:gd name="T10" fmla="*/ 312 w 756"/>
                  <a:gd name="T11" fmla="*/ 944 h 976"/>
                  <a:gd name="T12" fmla="*/ 258 w 756"/>
                  <a:gd name="T13" fmla="*/ 938 h 976"/>
                  <a:gd name="T14" fmla="*/ 206 w 756"/>
                  <a:gd name="T15" fmla="*/ 920 h 976"/>
                  <a:gd name="T16" fmla="*/ 172 w 756"/>
                  <a:gd name="T17" fmla="*/ 904 h 976"/>
                  <a:gd name="T18" fmla="*/ 92 w 756"/>
                  <a:gd name="T19" fmla="*/ 830 h 976"/>
                  <a:gd name="T20" fmla="*/ 54 w 756"/>
                  <a:gd name="T21" fmla="*/ 766 h 976"/>
                  <a:gd name="T22" fmla="*/ 28 w 756"/>
                  <a:gd name="T23" fmla="*/ 694 h 976"/>
                  <a:gd name="T24" fmla="*/ 12 w 756"/>
                  <a:gd name="T25" fmla="*/ 572 h 976"/>
                  <a:gd name="T26" fmla="*/ 18 w 756"/>
                  <a:gd name="T27" fmla="*/ 484 h 976"/>
                  <a:gd name="T28" fmla="*/ 50 w 756"/>
                  <a:gd name="T29" fmla="*/ 352 h 976"/>
                  <a:gd name="T30" fmla="*/ 88 w 756"/>
                  <a:gd name="T31" fmla="*/ 266 h 976"/>
                  <a:gd name="T32" fmla="*/ 136 w 756"/>
                  <a:gd name="T33" fmla="*/ 192 h 976"/>
                  <a:gd name="T34" fmla="*/ 222 w 756"/>
                  <a:gd name="T35" fmla="*/ 98 h 976"/>
                  <a:gd name="T36" fmla="*/ 286 w 756"/>
                  <a:gd name="T37" fmla="*/ 52 h 976"/>
                  <a:gd name="T38" fmla="*/ 390 w 756"/>
                  <a:gd name="T39" fmla="*/ 10 h 976"/>
                  <a:gd name="T40" fmla="*/ 454 w 756"/>
                  <a:gd name="T41" fmla="*/ 0 h 976"/>
                  <a:gd name="T42" fmla="*/ 516 w 756"/>
                  <a:gd name="T43" fmla="*/ 6 h 976"/>
                  <a:gd name="T44" fmla="*/ 418 w 756"/>
                  <a:gd name="T45" fmla="*/ 2 h 976"/>
                  <a:gd name="T46" fmla="*/ 350 w 756"/>
                  <a:gd name="T47" fmla="*/ 20 h 976"/>
                  <a:gd name="T48" fmla="*/ 246 w 756"/>
                  <a:gd name="T49" fmla="*/ 76 h 976"/>
                  <a:gd name="T50" fmla="*/ 182 w 756"/>
                  <a:gd name="T51" fmla="*/ 132 h 976"/>
                  <a:gd name="T52" fmla="*/ 126 w 756"/>
                  <a:gd name="T53" fmla="*/ 200 h 976"/>
                  <a:gd name="T54" fmla="*/ 56 w 756"/>
                  <a:gd name="T55" fmla="*/ 320 h 976"/>
                  <a:gd name="T56" fmla="*/ 24 w 756"/>
                  <a:gd name="T57" fmla="*/ 412 h 976"/>
                  <a:gd name="T58" fmla="*/ 0 w 756"/>
                  <a:gd name="T59" fmla="*/ 548 h 976"/>
                  <a:gd name="T60" fmla="*/ 2 w 756"/>
                  <a:gd name="T61" fmla="*/ 636 h 976"/>
                  <a:gd name="T62" fmla="*/ 16 w 756"/>
                  <a:gd name="T63" fmla="*/ 718 h 976"/>
                  <a:gd name="T64" fmla="*/ 60 w 756"/>
                  <a:gd name="T65" fmla="*/ 828 h 976"/>
                  <a:gd name="T66" fmla="*/ 104 w 756"/>
                  <a:gd name="T67" fmla="*/ 888 h 976"/>
                  <a:gd name="T68" fmla="*/ 160 w 756"/>
                  <a:gd name="T69" fmla="*/ 936 h 976"/>
                  <a:gd name="T70" fmla="*/ 194 w 756"/>
                  <a:gd name="T71" fmla="*/ 954 h 976"/>
                  <a:gd name="T72" fmla="*/ 246 w 756"/>
                  <a:gd name="T73" fmla="*/ 970 h 976"/>
                  <a:gd name="T74" fmla="*/ 302 w 756"/>
                  <a:gd name="T75" fmla="*/ 976 h 976"/>
                  <a:gd name="T76" fmla="*/ 340 w 756"/>
                  <a:gd name="T77" fmla="*/ 974 h 976"/>
                  <a:gd name="T78" fmla="*/ 454 w 756"/>
                  <a:gd name="T79" fmla="*/ 940 h 976"/>
                  <a:gd name="T80" fmla="*/ 526 w 756"/>
                  <a:gd name="T81" fmla="*/ 894 h 976"/>
                  <a:gd name="T82" fmla="*/ 626 w 756"/>
                  <a:gd name="T83" fmla="*/ 794 h 976"/>
                  <a:gd name="T84" fmla="*/ 682 w 756"/>
                  <a:gd name="T85" fmla="*/ 710 h 976"/>
                  <a:gd name="T86" fmla="*/ 726 w 756"/>
                  <a:gd name="T87" fmla="*/ 612 h 976"/>
                  <a:gd name="T88" fmla="*/ 750 w 756"/>
                  <a:gd name="T89" fmla="*/ 528 h 976"/>
                  <a:gd name="T90" fmla="*/ 744 w 756"/>
                  <a:gd name="T91" fmla="*/ 54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6" h="976">
                    <a:moveTo>
                      <a:pt x="730" y="592"/>
                    </a:moveTo>
                    <a:lnTo>
                      <a:pt x="730" y="592"/>
                    </a:lnTo>
                    <a:lnTo>
                      <a:pt x="710" y="640"/>
                    </a:lnTo>
                    <a:lnTo>
                      <a:pt x="686" y="686"/>
                    </a:lnTo>
                    <a:lnTo>
                      <a:pt x="660" y="730"/>
                    </a:lnTo>
                    <a:lnTo>
                      <a:pt x="632" y="768"/>
                    </a:lnTo>
                    <a:lnTo>
                      <a:pt x="632" y="768"/>
                    </a:lnTo>
                    <a:lnTo>
                      <a:pt x="600" y="804"/>
                    </a:lnTo>
                    <a:lnTo>
                      <a:pt x="568" y="836"/>
                    </a:lnTo>
                    <a:lnTo>
                      <a:pt x="534" y="864"/>
                    </a:lnTo>
                    <a:lnTo>
                      <a:pt x="498" y="888"/>
                    </a:lnTo>
                    <a:lnTo>
                      <a:pt x="498" y="888"/>
                    </a:lnTo>
                    <a:lnTo>
                      <a:pt x="462" y="908"/>
                    </a:lnTo>
                    <a:lnTo>
                      <a:pt x="424" y="924"/>
                    </a:lnTo>
                    <a:lnTo>
                      <a:pt x="388" y="936"/>
                    </a:lnTo>
                    <a:lnTo>
                      <a:pt x="350" y="942"/>
                    </a:lnTo>
                    <a:lnTo>
                      <a:pt x="350" y="942"/>
                    </a:lnTo>
                    <a:lnTo>
                      <a:pt x="312" y="944"/>
                    </a:lnTo>
                    <a:lnTo>
                      <a:pt x="294" y="942"/>
                    </a:lnTo>
                    <a:lnTo>
                      <a:pt x="276" y="940"/>
                    </a:lnTo>
                    <a:lnTo>
                      <a:pt x="258" y="938"/>
                    </a:lnTo>
                    <a:lnTo>
                      <a:pt x="240" y="932"/>
                    </a:lnTo>
                    <a:lnTo>
                      <a:pt x="222" y="928"/>
                    </a:lnTo>
                    <a:lnTo>
                      <a:pt x="206" y="920"/>
                    </a:lnTo>
                    <a:lnTo>
                      <a:pt x="206" y="920"/>
                    </a:lnTo>
                    <a:lnTo>
                      <a:pt x="188" y="912"/>
                    </a:lnTo>
                    <a:lnTo>
                      <a:pt x="172" y="904"/>
                    </a:lnTo>
                    <a:lnTo>
                      <a:pt x="144" y="882"/>
                    </a:lnTo>
                    <a:lnTo>
                      <a:pt x="116" y="858"/>
                    </a:lnTo>
                    <a:lnTo>
                      <a:pt x="92" y="830"/>
                    </a:lnTo>
                    <a:lnTo>
                      <a:pt x="92" y="830"/>
                    </a:lnTo>
                    <a:lnTo>
                      <a:pt x="72" y="800"/>
                    </a:lnTo>
                    <a:lnTo>
                      <a:pt x="54" y="766"/>
                    </a:lnTo>
                    <a:lnTo>
                      <a:pt x="40" y="730"/>
                    </a:lnTo>
                    <a:lnTo>
                      <a:pt x="28" y="694"/>
                    </a:lnTo>
                    <a:lnTo>
                      <a:pt x="28" y="694"/>
                    </a:lnTo>
                    <a:lnTo>
                      <a:pt x="20" y="654"/>
                    </a:lnTo>
                    <a:lnTo>
                      <a:pt x="14" y="614"/>
                    </a:lnTo>
                    <a:lnTo>
                      <a:pt x="12" y="572"/>
                    </a:lnTo>
                    <a:lnTo>
                      <a:pt x="14" y="528"/>
                    </a:lnTo>
                    <a:lnTo>
                      <a:pt x="14" y="528"/>
                    </a:lnTo>
                    <a:lnTo>
                      <a:pt x="18" y="484"/>
                    </a:lnTo>
                    <a:lnTo>
                      <a:pt x="24" y="440"/>
                    </a:lnTo>
                    <a:lnTo>
                      <a:pt x="36" y="396"/>
                    </a:lnTo>
                    <a:lnTo>
                      <a:pt x="50" y="352"/>
                    </a:lnTo>
                    <a:lnTo>
                      <a:pt x="50" y="352"/>
                    </a:lnTo>
                    <a:lnTo>
                      <a:pt x="68" y="308"/>
                    </a:lnTo>
                    <a:lnTo>
                      <a:pt x="88" y="266"/>
                    </a:lnTo>
                    <a:lnTo>
                      <a:pt x="110" y="228"/>
                    </a:lnTo>
                    <a:lnTo>
                      <a:pt x="136" y="192"/>
                    </a:lnTo>
                    <a:lnTo>
                      <a:pt x="136" y="192"/>
                    </a:lnTo>
                    <a:lnTo>
                      <a:pt x="162" y="158"/>
                    </a:lnTo>
                    <a:lnTo>
                      <a:pt x="192" y="126"/>
                    </a:lnTo>
                    <a:lnTo>
                      <a:pt x="222" y="98"/>
                    </a:lnTo>
                    <a:lnTo>
                      <a:pt x="254" y="74"/>
                    </a:lnTo>
                    <a:lnTo>
                      <a:pt x="254" y="74"/>
                    </a:lnTo>
                    <a:lnTo>
                      <a:pt x="286" y="52"/>
                    </a:lnTo>
                    <a:lnTo>
                      <a:pt x="320" y="34"/>
                    </a:lnTo>
                    <a:lnTo>
                      <a:pt x="356" y="20"/>
                    </a:lnTo>
                    <a:lnTo>
                      <a:pt x="390" y="10"/>
                    </a:lnTo>
                    <a:lnTo>
                      <a:pt x="390" y="10"/>
                    </a:lnTo>
                    <a:lnTo>
                      <a:pt x="422" y="4"/>
                    </a:lnTo>
                    <a:lnTo>
                      <a:pt x="454" y="0"/>
                    </a:lnTo>
                    <a:lnTo>
                      <a:pt x="484" y="2"/>
                    </a:lnTo>
                    <a:lnTo>
                      <a:pt x="516" y="6"/>
                    </a:lnTo>
                    <a:lnTo>
                      <a:pt x="516" y="6"/>
                    </a:lnTo>
                    <a:lnTo>
                      <a:pt x="484" y="0"/>
                    </a:lnTo>
                    <a:lnTo>
                      <a:pt x="450" y="0"/>
                    </a:lnTo>
                    <a:lnTo>
                      <a:pt x="418" y="2"/>
                    </a:lnTo>
                    <a:lnTo>
                      <a:pt x="386" y="10"/>
                    </a:lnTo>
                    <a:lnTo>
                      <a:pt x="386" y="10"/>
                    </a:lnTo>
                    <a:lnTo>
                      <a:pt x="350" y="20"/>
                    </a:lnTo>
                    <a:lnTo>
                      <a:pt x="314" y="36"/>
                    </a:lnTo>
                    <a:lnTo>
                      <a:pt x="280" y="54"/>
                    </a:lnTo>
                    <a:lnTo>
                      <a:pt x="246" y="76"/>
                    </a:lnTo>
                    <a:lnTo>
                      <a:pt x="246" y="76"/>
                    </a:lnTo>
                    <a:lnTo>
                      <a:pt x="214" y="102"/>
                    </a:lnTo>
                    <a:lnTo>
                      <a:pt x="182" y="132"/>
                    </a:lnTo>
                    <a:lnTo>
                      <a:pt x="154" y="164"/>
                    </a:lnTo>
                    <a:lnTo>
                      <a:pt x="126" y="200"/>
                    </a:lnTo>
                    <a:lnTo>
                      <a:pt x="126" y="200"/>
                    </a:lnTo>
                    <a:lnTo>
                      <a:pt x="100" y="236"/>
                    </a:lnTo>
                    <a:lnTo>
                      <a:pt x="78" y="278"/>
                    </a:lnTo>
                    <a:lnTo>
                      <a:pt x="56" y="320"/>
                    </a:lnTo>
                    <a:lnTo>
                      <a:pt x="40" y="366"/>
                    </a:lnTo>
                    <a:lnTo>
                      <a:pt x="40" y="366"/>
                    </a:lnTo>
                    <a:lnTo>
                      <a:pt x="24" y="412"/>
                    </a:lnTo>
                    <a:lnTo>
                      <a:pt x="12" y="458"/>
                    </a:lnTo>
                    <a:lnTo>
                      <a:pt x="4" y="504"/>
                    </a:lnTo>
                    <a:lnTo>
                      <a:pt x="0" y="548"/>
                    </a:lnTo>
                    <a:lnTo>
                      <a:pt x="0" y="548"/>
                    </a:lnTo>
                    <a:lnTo>
                      <a:pt x="0" y="594"/>
                    </a:lnTo>
                    <a:lnTo>
                      <a:pt x="2" y="636"/>
                    </a:lnTo>
                    <a:lnTo>
                      <a:pt x="6" y="678"/>
                    </a:lnTo>
                    <a:lnTo>
                      <a:pt x="16" y="718"/>
                    </a:lnTo>
                    <a:lnTo>
                      <a:pt x="16" y="718"/>
                    </a:lnTo>
                    <a:lnTo>
                      <a:pt x="26" y="758"/>
                    </a:lnTo>
                    <a:lnTo>
                      <a:pt x="42" y="794"/>
                    </a:lnTo>
                    <a:lnTo>
                      <a:pt x="60" y="828"/>
                    </a:lnTo>
                    <a:lnTo>
                      <a:pt x="80" y="860"/>
                    </a:lnTo>
                    <a:lnTo>
                      <a:pt x="80" y="860"/>
                    </a:lnTo>
                    <a:lnTo>
                      <a:pt x="104" y="888"/>
                    </a:lnTo>
                    <a:lnTo>
                      <a:pt x="130" y="914"/>
                    </a:lnTo>
                    <a:lnTo>
                      <a:pt x="146" y="926"/>
                    </a:lnTo>
                    <a:lnTo>
                      <a:pt x="160" y="936"/>
                    </a:lnTo>
                    <a:lnTo>
                      <a:pt x="176" y="946"/>
                    </a:lnTo>
                    <a:lnTo>
                      <a:pt x="194" y="954"/>
                    </a:lnTo>
                    <a:lnTo>
                      <a:pt x="194" y="954"/>
                    </a:lnTo>
                    <a:lnTo>
                      <a:pt x="210" y="960"/>
                    </a:lnTo>
                    <a:lnTo>
                      <a:pt x="228" y="966"/>
                    </a:lnTo>
                    <a:lnTo>
                      <a:pt x="246" y="970"/>
                    </a:lnTo>
                    <a:lnTo>
                      <a:pt x="264" y="974"/>
                    </a:lnTo>
                    <a:lnTo>
                      <a:pt x="284" y="976"/>
                    </a:lnTo>
                    <a:lnTo>
                      <a:pt x="302" y="976"/>
                    </a:lnTo>
                    <a:lnTo>
                      <a:pt x="320" y="976"/>
                    </a:lnTo>
                    <a:lnTo>
                      <a:pt x="340" y="974"/>
                    </a:lnTo>
                    <a:lnTo>
                      <a:pt x="340" y="974"/>
                    </a:lnTo>
                    <a:lnTo>
                      <a:pt x="378" y="968"/>
                    </a:lnTo>
                    <a:lnTo>
                      <a:pt x="416" y="956"/>
                    </a:lnTo>
                    <a:lnTo>
                      <a:pt x="454" y="940"/>
                    </a:lnTo>
                    <a:lnTo>
                      <a:pt x="490" y="920"/>
                    </a:lnTo>
                    <a:lnTo>
                      <a:pt x="490" y="920"/>
                    </a:lnTo>
                    <a:lnTo>
                      <a:pt x="526" y="894"/>
                    </a:lnTo>
                    <a:lnTo>
                      <a:pt x="562" y="864"/>
                    </a:lnTo>
                    <a:lnTo>
                      <a:pt x="594" y="832"/>
                    </a:lnTo>
                    <a:lnTo>
                      <a:pt x="626" y="794"/>
                    </a:lnTo>
                    <a:lnTo>
                      <a:pt x="626" y="794"/>
                    </a:lnTo>
                    <a:lnTo>
                      <a:pt x="654" y="754"/>
                    </a:lnTo>
                    <a:lnTo>
                      <a:pt x="682" y="710"/>
                    </a:lnTo>
                    <a:lnTo>
                      <a:pt x="704" y="662"/>
                    </a:lnTo>
                    <a:lnTo>
                      <a:pt x="726" y="612"/>
                    </a:lnTo>
                    <a:lnTo>
                      <a:pt x="726" y="612"/>
                    </a:lnTo>
                    <a:lnTo>
                      <a:pt x="734" y="584"/>
                    </a:lnTo>
                    <a:lnTo>
                      <a:pt x="742" y="556"/>
                    </a:lnTo>
                    <a:lnTo>
                      <a:pt x="750" y="528"/>
                    </a:lnTo>
                    <a:lnTo>
                      <a:pt x="756" y="500"/>
                    </a:lnTo>
                    <a:lnTo>
                      <a:pt x="756" y="500"/>
                    </a:lnTo>
                    <a:lnTo>
                      <a:pt x="744" y="546"/>
                    </a:lnTo>
                    <a:lnTo>
                      <a:pt x="730" y="59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4" name="Freeform 228"/>
              <p:cNvSpPr/>
              <p:nvPr>
                <p:custDataLst>
                  <p:tags r:id="rId22"/>
                </p:custDataLst>
              </p:nvPr>
            </p:nvSpPr>
            <p:spPr bwMode="auto">
              <a:xfrm>
                <a:off x="3530513" y="3423355"/>
                <a:ext cx="660585" cy="762541"/>
              </a:xfrm>
              <a:custGeom>
                <a:avLst/>
                <a:gdLst>
                  <a:gd name="T0" fmla="*/ 608 w 622"/>
                  <a:gd name="T1" fmla="*/ 0 h 718"/>
                  <a:gd name="T2" fmla="*/ 0 w 622"/>
                  <a:gd name="T3" fmla="*/ 666 h 718"/>
                  <a:gd name="T4" fmla="*/ 0 w 622"/>
                  <a:gd name="T5" fmla="*/ 666 h 718"/>
                  <a:gd name="T6" fmla="*/ 26 w 622"/>
                  <a:gd name="T7" fmla="*/ 682 h 718"/>
                  <a:gd name="T8" fmla="*/ 54 w 622"/>
                  <a:gd name="T9" fmla="*/ 698 h 718"/>
                  <a:gd name="T10" fmla="*/ 54 w 622"/>
                  <a:gd name="T11" fmla="*/ 698 h 718"/>
                  <a:gd name="T12" fmla="*/ 70 w 622"/>
                  <a:gd name="T13" fmla="*/ 704 h 718"/>
                  <a:gd name="T14" fmla="*/ 88 w 622"/>
                  <a:gd name="T15" fmla="*/ 710 h 718"/>
                  <a:gd name="T16" fmla="*/ 106 w 622"/>
                  <a:gd name="T17" fmla="*/ 714 h 718"/>
                  <a:gd name="T18" fmla="*/ 124 w 622"/>
                  <a:gd name="T19" fmla="*/ 718 h 718"/>
                  <a:gd name="T20" fmla="*/ 622 w 622"/>
                  <a:gd name="T21" fmla="*/ 70 h 718"/>
                  <a:gd name="T22" fmla="*/ 622 w 622"/>
                  <a:gd name="T23" fmla="*/ 70 h 718"/>
                  <a:gd name="T24" fmla="*/ 616 w 622"/>
                  <a:gd name="T25" fmla="*/ 34 h 718"/>
                  <a:gd name="T26" fmla="*/ 608 w 622"/>
                  <a:gd name="T27"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2" h="718">
                    <a:moveTo>
                      <a:pt x="608" y="0"/>
                    </a:moveTo>
                    <a:lnTo>
                      <a:pt x="0" y="666"/>
                    </a:lnTo>
                    <a:lnTo>
                      <a:pt x="0" y="666"/>
                    </a:lnTo>
                    <a:lnTo>
                      <a:pt x="26" y="682"/>
                    </a:lnTo>
                    <a:lnTo>
                      <a:pt x="54" y="698"/>
                    </a:lnTo>
                    <a:lnTo>
                      <a:pt x="54" y="698"/>
                    </a:lnTo>
                    <a:lnTo>
                      <a:pt x="70" y="704"/>
                    </a:lnTo>
                    <a:lnTo>
                      <a:pt x="88" y="710"/>
                    </a:lnTo>
                    <a:lnTo>
                      <a:pt x="106" y="714"/>
                    </a:lnTo>
                    <a:lnTo>
                      <a:pt x="124" y="718"/>
                    </a:lnTo>
                    <a:lnTo>
                      <a:pt x="622" y="70"/>
                    </a:lnTo>
                    <a:lnTo>
                      <a:pt x="622" y="70"/>
                    </a:lnTo>
                    <a:lnTo>
                      <a:pt x="616" y="34"/>
                    </a:lnTo>
                    <a:lnTo>
                      <a:pt x="6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5" name="Freeform 229"/>
              <p:cNvSpPr/>
              <p:nvPr>
                <p:custDataLst>
                  <p:tags r:id="rId23"/>
                </p:custDataLst>
              </p:nvPr>
            </p:nvSpPr>
            <p:spPr bwMode="auto">
              <a:xfrm>
                <a:off x="3511397" y="3230064"/>
                <a:ext cx="649965" cy="898482"/>
              </a:xfrm>
              <a:custGeom>
                <a:avLst/>
                <a:gdLst>
                  <a:gd name="T0" fmla="*/ 536 w 612"/>
                  <a:gd name="T1" fmla="*/ 12 h 846"/>
                  <a:gd name="T2" fmla="*/ 536 w 612"/>
                  <a:gd name="T3" fmla="*/ 12 h 846"/>
                  <a:gd name="T4" fmla="*/ 524 w 612"/>
                  <a:gd name="T5" fmla="*/ 0 h 846"/>
                  <a:gd name="T6" fmla="*/ 0 w 612"/>
                  <a:gd name="T7" fmla="*/ 832 h 846"/>
                  <a:gd name="T8" fmla="*/ 0 w 612"/>
                  <a:gd name="T9" fmla="*/ 832 h 846"/>
                  <a:gd name="T10" fmla="*/ 16 w 612"/>
                  <a:gd name="T11" fmla="*/ 846 h 846"/>
                  <a:gd name="T12" fmla="*/ 612 w 612"/>
                  <a:gd name="T13" fmla="*/ 134 h 846"/>
                  <a:gd name="T14" fmla="*/ 612 w 612"/>
                  <a:gd name="T15" fmla="*/ 134 h 846"/>
                  <a:gd name="T16" fmla="*/ 598 w 612"/>
                  <a:gd name="T17" fmla="*/ 100 h 846"/>
                  <a:gd name="T18" fmla="*/ 580 w 612"/>
                  <a:gd name="T19" fmla="*/ 68 h 846"/>
                  <a:gd name="T20" fmla="*/ 560 w 612"/>
                  <a:gd name="T21" fmla="*/ 38 h 846"/>
                  <a:gd name="T22" fmla="*/ 536 w 612"/>
                  <a:gd name="T23" fmla="*/ 1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2" h="846">
                    <a:moveTo>
                      <a:pt x="536" y="12"/>
                    </a:moveTo>
                    <a:lnTo>
                      <a:pt x="536" y="12"/>
                    </a:lnTo>
                    <a:lnTo>
                      <a:pt x="524" y="0"/>
                    </a:lnTo>
                    <a:lnTo>
                      <a:pt x="0" y="832"/>
                    </a:lnTo>
                    <a:lnTo>
                      <a:pt x="0" y="832"/>
                    </a:lnTo>
                    <a:lnTo>
                      <a:pt x="16" y="846"/>
                    </a:lnTo>
                    <a:lnTo>
                      <a:pt x="612" y="134"/>
                    </a:lnTo>
                    <a:lnTo>
                      <a:pt x="612" y="134"/>
                    </a:lnTo>
                    <a:lnTo>
                      <a:pt x="598" y="100"/>
                    </a:lnTo>
                    <a:lnTo>
                      <a:pt x="580" y="68"/>
                    </a:lnTo>
                    <a:lnTo>
                      <a:pt x="560" y="38"/>
                    </a:lnTo>
                    <a:lnTo>
                      <a:pt x="536"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6" name="Freeform 230"/>
              <p:cNvSpPr/>
              <p:nvPr>
                <p:custDataLst>
                  <p:tags r:id="rId24"/>
                </p:custDataLst>
              </p:nvPr>
            </p:nvSpPr>
            <p:spPr bwMode="auto">
              <a:xfrm>
                <a:off x="3464667" y="3151473"/>
                <a:ext cx="505527" cy="955831"/>
              </a:xfrm>
              <a:custGeom>
                <a:avLst/>
                <a:gdLst>
                  <a:gd name="T0" fmla="*/ 454 w 476"/>
                  <a:gd name="T1" fmla="*/ 10 h 900"/>
                  <a:gd name="T2" fmla="*/ 454 w 476"/>
                  <a:gd name="T3" fmla="*/ 10 h 900"/>
                  <a:gd name="T4" fmla="*/ 436 w 476"/>
                  <a:gd name="T5" fmla="*/ 6 h 900"/>
                  <a:gd name="T6" fmla="*/ 418 w 476"/>
                  <a:gd name="T7" fmla="*/ 2 h 900"/>
                  <a:gd name="T8" fmla="*/ 400 w 476"/>
                  <a:gd name="T9" fmla="*/ 0 h 900"/>
                  <a:gd name="T10" fmla="*/ 382 w 476"/>
                  <a:gd name="T11" fmla="*/ 0 h 900"/>
                  <a:gd name="T12" fmla="*/ 344 w 476"/>
                  <a:gd name="T13" fmla="*/ 2 h 900"/>
                  <a:gd name="T14" fmla="*/ 308 w 476"/>
                  <a:gd name="T15" fmla="*/ 10 h 900"/>
                  <a:gd name="T16" fmla="*/ 308 w 476"/>
                  <a:gd name="T17" fmla="*/ 10 h 900"/>
                  <a:gd name="T18" fmla="*/ 272 w 476"/>
                  <a:gd name="T19" fmla="*/ 20 h 900"/>
                  <a:gd name="T20" fmla="*/ 236 w 476"/>
                  <a:gd name="T21" fmla="*/ 36 h 900"/>
                  <a:gd name="T22" fmla="*/ 202 w 476"/>
                  <a:gd name="T23" fmla="*/ 54 h 900"/>
                  <a:gd name="T24" fmla="*/ 168 w 476"/>
                  <a:gd name="T25" fmla="*/ 76 h 900"/>
                  <a:gd name="T26" fmla="*/ 168 w 476"/>
                  <a:gd name="T27" fmla="*/ 76 h 900"/>
                  <a:gd name="T28" fmla="*/ 148 w 476"/>
                  <a:gd name="T29" fmla="*/ 92 h 900"/>
                  <a:gd name="T30" fmla="*/ 128 w 476"/>
                  <a:gd name="T31" fmla="*/ 110 h 900"/>
                  <a:gd name="T32" fmla="*/ 0 w 476"/>
                  <a:gd name="T33" fmla="*/ 858 h 900"/>
                  <a:gd name="T34" fmla="*/ 0 w 476"/>
                  <a:gd name="T35" fmla="*/ 858 h 900"/>
                  <a:gd name="T36" fmla="*/ 2 w 476"/>
                  <a:gd name="T37" fmla="*/ 860 h 900"/>
                  <a:gd name="T38" fmla="*/ 2 w 476"/>
                  <a:gd name="T39" fmla="*/ 860 h 900"/>
                  <a:gd name="T40" fmla="*/ 18 w 476"/>
                  <a:gd name="T41" fmla="*/ 880 h 900"/>
                  <a:gd name="T42" fmla="*/ 36 w 476"/>
                  <a:gd name="T43" fmla="*/ 900 h 900"/>
                  <a:gd name="T44" fmla="*/ 476 w 476"/>
                  <a:gd name="T45" fmla="*/ 16 h 900"/>
                  <a:gd name="T46" fmla="*/ 476 w 476"/>
                  <a:gd name="T47" fmla="*/ 16 h 900"/>
                  <a:gd name="T48" fmla="*/ 454 w 476"/>
                  <a:gd name="T49" fmla="*/ 1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6" h="900">
                    <a:moveTo>
                      <a:pt x="454" y="10"/>
                    </a:moveTo>
                    <a:lnTo>
                      <a:pt x="454" y="10"/>
                    </a:lnTo>
                    <a:lnTo>
                      <a:pt x="436" y="6"/>
                    </a:lnTo>
                    <a:lnTo>
                      <a:pt x="418" y="2"/>
                    </a:lnTo>
                    <a:lnTo>
                      <a:pt x="400" y="0"/>
                    </a:lnTo>
                    <a:lnTo>
                      <a:pt x="382" y="0"/>
                    </a:lnTo>
                    <a:lnTo>
                      <a:pt x="344" y="2"/>
                    </a:lnTo>
                    <a:lnTo>
                      <a:pt x="308" y="10"/>
                    </a:lnTo>
                    <a:lnTo>
                      <a:pt x="308" y="10"/>
                    </a:lnTo>
                    <a:lnTo>
                      <a:pt x="272" y="20"/>
                    </a:lnTo>
                    <a:lnTo>
                      <a:pt x="236" y="36"/>
                    </a:lnTo>
                    <a:lnTo>
                      <a:pt x="202" y="54"/>
                    </a:lnTo>
                    <a:lnTo>
                      <a:pt x="168" y="76"/>
                    </a:lnTo>
                    <a:lnTo>
                      <a:pt x="168" y="76"/>
                    </a:lnTo>
                    <a:lnTo>
                      <a:pt x="148" y="92"/>
                    </a:lnTo>
                    <a:lnTo>
                      <a:pt x="128" y="110"/>
                    </a:lnTo>
                    <a:lnTo>
                      <a:pt x="0" y="858"/>
                    </a:lnTo>
                    <a:lnTo>
                      <a:pt x="0" y="858"/>
                    </a:lnTo>
                    <a:lnTo>
                      <a:pt x="2" y="860"/>
                    </a:lnTo>
                    <a:lnTo>
                      <a:pt x="2" y="860"/>
                    </a:lnTo>
                    <a:lnTo>
                      <a:pt x="18" y="880"/>
                    </a:lnTo>
                    <a:lnTo>
                      <a:pt x="36" y="900"/>
                    </a:lnTo>
                    <a:lnTo>
                      <a:pt x="476" y="16"/>
                    </a:lnTo>
                    <a:lnTo>
                      <a:pt x="476" y="16"/>
                    </a:lnTo>
                    <a:lnTo>
                      <a:pt x="454"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7" name="Freeform 233"/>
              <p:cNvSpPr/>
              <p:nvPr>
                <p:custDataLst>
                  <p:tags r:id="rId25"/>
                </p:custDataLst>
              </p:nvPr>
            </p:nvSpPr>
            <p:spPr bwMode="auto">
              <a:xfrm>
                <a:off x="3917093" y="3824803"/>
                <a:ext cx="61598" cy="108327"/>
              </a:xfrm>
              <a:custGeom>
                <a:avLst/>
                <a:gdLst>
                  <a:gd name="T0" fmla="*/ 54 w 58"/>
                  <a:gd name="T1" fmla="*/ 0 h 102"/>
                  <a:gd name="T2" fmla="*/ 54 w 58"/>
                  <a:gd name="T3" fmla="*/ 0 h 102"/>
                  <a:gd name="T4" fmla="*/ 50 w 58"/>
                  <a:gd name="T5" fmla="*/ 16 h 102"/>
                  <a:gd name="T6" fmla="*/ 44 w 58"/>
                  <a:gd name="T7" fmla="*/ 32 h 102"/>
                  <a:gd name="T8" fmla="*/ 44 w 58"/>
                  <a:gd name="T9" fmla="*/ 32 h 102"/>
                  <a:gd name="T10" fmla="*/ 30 w 58"/>
                  <a:gd name="T11" fmla="*/ 60 h 102"/>
                  <a:gd name="T12" fmla="*/ 16 w 58"/>
                  <a:gd name="T13" fmla="*/ 84 h 102"/>
                  <a:gd name="T14" fmla="*/ 16 w 58"/>
                  <a:gd name="T15" fmla="*/ 84 h 102"/>
                  <a:gd name="T16" fmla="*/ 0 w 58"/>
                  <a:gd name="T17" fmla="*/ 102 h 102"/>
                  <a:gd name="T18" fmla="*/ 18 w 58"/>
                  <a:gd name="T19" fmla="*/ 96 h 102"/>
                  <a:gd name="T20" fmla="*/ 18 w 58"/>
                  <a:gd name="T21" fmla="*/ 96 h 102"/>
                  <a:gd name="T22" fmla="*/ 32 w 58"/>
                  <a:gd name="T23" fmla="*/ 74 h 102"/>
                  <a:gd name="T24" fmla="*/ 44 w 58"/>
                  <a:gd name="T25" fmla="*/ 48 h 102"/>
                  <a:gd name="T26" fmla="*/ 44 w 58"/>
                  <a:gd name="T27" fmla="*/ 48 h 102"/>
                  <a:gd name="T28" fmla="*/ 52 w 58"/>
                  <a:gd name="T29" fmla="*/ 24 h 102"/>
                  <a:gd name="T30" fmla="*/ 58 w 58"/>
                  <a:gd name="T31" fmla="*/ 2 h 102"/>
                  <a:gd name="T32" fmla="*/ 54 w 58"/>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102">
                    <a:moveTo>
                      <a:pt x="54" y="0"/>
                    </a:moveTo>
                    <a:lnTo>
                      <a:pt x="54" y="0"/>
                    </a:lnTo>
                    <a:lnTo>
                      <a:pt x="50" y="16"/>
                    </a:lnTo>
                    <a:lnTo>
                      <a:pt x="44" y="32"/>
                    </a:lnTo>
                    <a:lnTo>
                      <a:pt x="44" y="32"/>
                    </a:lnTo>
                    <a:lnTo>
                      <a:pt x="30" y="60"/>
                    </a:lnTo>
                    <a:lnTo>
                      <a:pt x="16" y="84"/>
                    </a:lnTo>
                    <a:lnTo>
                      <a:pt x="16" y="84"/>
                    </a:lnTo>
                    <a:lnTo>
                      <a:pt x="0" y="102"/>
                    </a:lnTo>
                    <a:lnTo>
                      <a:pt x="18" y="96"/>
                    </a:lnTo>
                    <a:lnTo>
                      <a:pt x="18" y="96"/>
                    </a:lnTo>
                    <a:lnTo>
                      <a:pt x="32" y="74"/>
                    </a:lnTo>
                    <a:lnTo>
                      <a:pt x="44" y="48"/>
                    </a:lnTo>
                    <a:lnTo>
                      <a:pt x="44" y="48"/>
                    </a:lnTo>
                    <a:lnTo>
                      <a:pt x="52" y="24"/>
                    </a:lnTo>
                    <a:lnTo>
                      <a:pt x="58"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8" name="Freeform 235"/>
              <p:cNvSpPr/>
              <p:nvPr>
                <p:custDataLst>
                  <p:tags r:id="rId26"/>
                </p:custDataLst>
              </p:nvPr>
            </p:nvSpPr>
            <p:spPr bwMode="auto">
              <a:xfrm>
                <a:off x="3836379" y="3754708"/>
                <a:ext cx="14869" cy="25489"/>
              </a:xfrm>
              <a:custGeom>
                <a:avLst/>
                <a:gdLst>
                  <a:gd name="T0" fmla="*/ 4 w 14"/>
                  <a:gd name="T1" fmla="*/ 0 h 24"/>
                  <a:gd name="T2" fmla="*/ 0 w 14"/>
                  <a:gd name="T3" fmla="*/ 6 h 24"/>
                  <a:gd name="T4" fmla="*/ 0 w 14"/>
                  <a:gd name="T5" fmla="*/ 6 h 24"/>
                  <a:gd name="T6" fmla="*/ 8 w 14"/>
                  <a:gd name="T7" fmla="*/ 14 h 24"/>
                  <a:gd name="T8" fmla="*/ 14 w 14"/>
                  <a:gd name="T9" fmla="*/ 24 h 24"/>
                  <a:gd name="T10" fmla="*/ 14 w 14"/>
                  <a:gd name="T11" fmla="*/ 22 h 24"/>
                  <a:gd name="T12" fmla="*/ 14 w 14"/>
                  <a:gd name="T13" fmla="*/ 22 h 24"/>
                  <a:gd name="T14" fmla="*/ 14 w 14"/>
                  <a:gd name="T15" fmla="*/ 22 h 24"/>
                  <a:gd name="T16" fmla="*/ 14 w 14"/>
                  <a:gd name="T17" fmla="*/ 22 h 24"/>
                  <a:gd name="T18" fmla="*/ 10 w 14"/>
                  <a:gd name="T19" fmla="*/ 12 h 24"/>
                  <a:gd name="T20" fmla="*/ 4 w 14"/>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4">
                    <a:moveTo>
                      <a:pt x="4" y="0"/>
                    </a:moveTo>
                    <a:lnTo>
                      <a:pt x="0" y="6"/>
                    </a:lnTo>
                    <a:lnTo>
                      <a:pt x="0" y="6"/>
                    </a:lnTo>
                    <a:lnTo>
                      <a:pt x="8" y="14"/>
                    </a:lnTo>
                    <a:lnTo>
                      <a:pt x="14" y="24"/>
                    </a:lnTo>
                    <a:lnTo>
                      <a:pt x="14" y="22"/>
                    </a:lnTo>
                    <a:lnTo>
                      <a:pt x="14" y="22"/>
                    </a:lnTo>
                    <a:lnTo>
                      <a:pt x="14" y="22"/>
                    </a:lnTo>
                    <a:lnTo>
                      <a:pt x="14" y="22"/>
                    </a:lnTo>
                    <a:lnTo>
                      <a:pt x="1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9" name="Freeform 236"/>
              <p:cNvSpPr/>
              <p:nvPr>
                <p:custDataLst>
                  <p:tags r:id="rId27"/>
                </p:custDataLst>
              </p:nvPr>
            </p:nvSpPr>
            <p:spPr bwMode="auto">
              <a:xfrm>
                <a:off x="3723803" y="3654878"/>
                <a:ext cx="29737" cy="31861"/>
              </a:xfrm>
              <a:custGeom>
                <a:avLst/>
                <a:gdLst>
                  <a:gd name="T0" fmla="*/ 4 w 28"/>
                  <a:gd name="T1" fmla="*/ 0 h 30"/>
                  <a:gd name="T2" fmla="*/ 0 w 28"/>
                  <a:gd name="T3" fmla="*/ 8 h 30"/>
                  <a:gd name="T4" fmla="*/ 0 w 28"/>
                  <a:gd name="T5" fmla="*/ 8 h 30"/>
                  <a:gd name="T6" fmla="*/ 24 w 28"/>
                  <a:gd name="T7" fmla="*/ 30 h 30"/>
                  <a:gd name="T8" fmla="*/ 28 w 28"/>
                  <a:gd name="T9" fmla="*/ 22 h 30"/>
                  <a:gd name="T10" fmla="*/ 28 w 28"/>
                  <a:gd name="T11" fmla="*/ 22 h 30"/>
                  <a:gd name="T12" fmla="*/ 4 w 28"/>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8" h="30">
                    <a:moveTo>
                      <a:pt x="4" y="0"/>
                    </a:moveTo>
                    <a:lnTo>
                      <a:pt x="0" y="8"/>
                    </a:lnTo>
                    <a:lnTo>
                      <a:pt x="0" y="8"/>
                    </a:lnTo>
                    <a:lnTo>
                      <a:pt x="24" y="30"/>
                    </a:lnTo>
                    <a:lnTo>
                      <a:pt x="28" y="22"/>
                    </a:lnTo>
                    <a:lnTo>
                      <a:pt x="28" y="2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0" name="Freeform 237"/>
              <p:cNvSpPr/>
              <p:nvPr>
                <p:custDataLst>
                  <p:tags r:id="rId28"/>
                </p:custDataLst>
              </p:nvPr>
            </p:nvSpPr>
            <p:spPr bwMode="auto">
              <a:xfrm>
                <a:off x="4012676" y="3540178"/>
                <a:ext cx="46730" cy="21241"/>
              </a:xfrm>
              <a:custGeom>
                <a:avLst/>
                <a:gdLst>
                  <a:gd name="T0" fmla="*/ 8 w 44"/>
                  <a:gd name="T1" fmla="*/ 0 h 20"/>
                  <a:gd name="T2" fmla="*/ 0 w 44"/>
                  <a:gd name="T3" fmla="*/ 10 h 20"/>
                  <a:gd name="T4" fmla="*/ 36 w 44"/>
                  <a:gd name="T5" fmla="*/ 20 h 20"/>
                  <a:gd name="T6" fmla="*/ 44 w 44"/>
                  <a:gd name="T7" fmla="*/ 10 h 20"/>
                  <a:gd name="T8" fmla="*/ 8 w 44"/>
                  <a:gd name="T9" fmla="*/ 0 h 20"/>
                </a:gdLst>
                <a:ahLst/>
                <a:cxnLst>
                  <a:cxn ang="0">
                    <a:pos x="T0" y="T1"/>
                  </a:cxn>
                  <a:cxn ang="0">
                    <a:pos x="T2" y="T3"/>
                  </a:cxn>
                  <a:cxn ang="0">
                    <a:pos x="T4" y="T5"/>
                  </a:cxn>
                  <a:cxn ang="0">
                    <a:pos x="T6" y="T7"/>
                  </a:cxn>
                  <a:cxn ang="0">
                    <a:pos x="T8" y="T9"/>
                  </a:cxn>
                </a:cxnLst>
                <a:rect l="0" t="0" r="r" b="b"/>
                <a:pathLst>
                  <a:path w="44" h="20">
                    <a:moveTo>
                      <a:pt x="8" y="0"/>
                    </a:moveTo>
                    <a:lnTo>
                      <a:pt x="0" y="10"/>
                    </a:lnTo>
                    <a:lnTo>
                      <a:pt x="36" y="20"/>
                    </a:lnTo>
                    <a:lnTo>
                      <a:pt x="4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1" name="Freeform 238"/>
              <p:cNvSpPr/>
              <p:nvPr>
                <p:custDataLst>
                  <p:tags r:id="rId29"/>
                </p:custDataLst>
              </p:nvPr>
            </p:nvSpPr>
            <p:spPr bwMode="auto">
              <a:xfrm>
                <a:off x="4072149" y="3504070"/>
                <a:ext cx="4248" cy="33985"/>
              </a:xfrm>
              <a:custGeom>
                <a:avLst/>
                <a:gdLst>
                  <a:gd name="T0" fmla="*/ 4 w 4"/>
                  <a:gd name="T1" fmla="*/ 0 h 32"/>
                  <a:gd name="T2" fmla="*/ 4 w 4"/>
                  <a:gd name="T3" fmla="*/ 0 h 32"/>
                  <a:gd name="T4" fmla="*/ 0 w 4"/>
                  <a:gd name="T5" fmla="*/ 32 h 32"/>
                  <a:gd name="T6" fmla="*/ 2 w 4"/>
                  <a:gd name="T7" fmla="*/ 30 h 32"/>
                  <a:gd name="T8" fmla="*/ 2 w 4"/>
                  <a:gd name="T9" fmla="*/ 30 h 32"/>
                  <a:gd name="T10" fmla="*/ 4 w 4"/>
                  <a:gd name="T11" fmla="*/ 0 h 32"/>
                </a:gdLst>
                <a:ahLst/>
                <a:cxnLst>
                  <a:cxn ang="0">
                    <a:pos x="T0" y="T1"/>
                  </a:cxn>
                  <a:cxn ang="0">
                    <a:pos x="T2" y="T3"/>
                  </a:cxn>
                  <a:cxn ang="0">
                    <a:pos x="T4" y="T5"/>
                  </a:cxn>
                  <a:cxn ang="0">
                    <a:pos x="T6" y="T7"/>
                  </a:cxn>
                  <a:cxn ang="0">
                    <a:pos x="T8" y="T9"/>
                  </a:cxn>
                  <a:cxn ang="0">
                    <a:pos x="T10" y="T11"/>
                  </a:cxn>
                </a:cxnLst>
                <a:rect l="0" t="0" r="r" b="b"/>
                <a:pathLst>
                  <a:path w="4" h="32">
                    <a:moveTo>
                      <a:pt x="4" y="0"/>
                    </a:moveTo>
                    <a:lnTo>
                      <a:pt x="4" y="0"/>
                    </a:lnTo>
                    <a:lnTo>
                      <a:pt x="0" y="32"/>
                    </a:lnTo>
                    <a:lnTo>
                      <a:pt x="2" y="30"/>
                    </a:lnTo>
                    <a:lnTo>
                      <a:pt x="2" y="3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2" name="Freeform 239"/>
              <p:cNvSpPr/>
              <p:nvPr>
                <p:custDataLst>
                  <p:tags r:id="rId30"/>
                </p:custDataLst>
              </p:nvPr>
            </p:nvSpPr>
            <p:spPr bwMode="auto">
              <a:xfrm>
                <a:off x="3906472" y="3431850"/>
                <a:ext cx="29737" cy="53102"/>
              </a:xfrm>
              <a:custGeom>
                <a:avLst/>
                <a:gdLst>
                  <a:gd name="T0" fmla="*/ 22 w 28"/>
                  <a:gd name="T1" fmla="*/ 0 h 50"/>
                  <a:gd name="T2" fmla="*/ 0 w 28"/>
                  <a:gd name="T3" fmla="*/ 50 h 50"/>
                  <a:gd name="T4" fmla="*/ 20 w 28"/>
                  <a:gd name="T5" fmla="*/ 20 h 50"/>
                  <a:gd name="T6" fmla="*/ 24 w 28"/>
                  <a:gd name="T7" fmla="*/ 12 h 50"/>
                  <a:gd name="T8" fmla="*/ 24 w 28"/>
                  <a:gd name="T9" fmla="*/ 12 h 50"/>
                  <a:gd name="T10" fmla="*/ 24 w 28"/>
                  <a:gd name="T11" fmla="*/ 14 h 50"/>
                  <a:gd name="T12" fmla="*/ 28 w 28"/>
                  <a:gd name="T13" fmla="*/ 8 h 50"/>
                  <a:gd name="T14" fmla="*/ 28 w 28"/>
                  <a:gd name="T15" fmla="*/ 8 h 50"/>
                  <a:gd name="T16" fmla="*/ 22 w 28"/>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50">
                    <a:moveTo>
                      <a:pt x="22" y="0"/>
                    </a:moveTo>
                    <a:lnTo>
                      <a:pt x="0" y="50"/>
                    </a:lnTo>
                    <a:lnTo>
                      <a:pt x="20" y="20"/>
                    </a:lnTo>
                    <a:lnTo>
                      <a:pt x="24" y="12"/>
                    </a:lnTo>
                    <a:lnTo>
                      <a:pt x="24" y="12"/>
                    </a:lnTo>
                    <a:lnTo>
                      <a:pt x="24" y="14"/>
                    </a:lnTo>
                    <a:lnTo>
                      <a:pt x="28" y="8"/>
                    </a:lnTo>
                    <a:lnTo>
                      <a:pt x="28" y="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3" name="Freeform 240"/>
              <p:cNvSpPr/>
              <p:nvPr>
                <p:custDataLst>
                  <p:tags r:id="rId31"/>
                </p:custDataLst>
              </p:nvPr>
            </p:nvSpPr>
            <p:spPr bwMode="auto">
              <a:xfrm>
                <a:off x="3844875" y="3404237"/>
                <a:ext cx="21241" cy="14869"/>
              </a:xfrm>
              <a:custGeom>
                <a:avLst/>
                <a:gdLst>
                  <a:gd name="T0" fmla="*/ 14 w 20"/>
                  <a:gd name="T1" fmla="*/ 0 h 14"/>
                  <a:gd name="T2" fmla="*/ 14 w 20"/>
                  <a:gd name="T3" fmla="*/ 0 h 14"/>
                  <a:gd name="T4" fmla="*/ 8 w 20"/>
                  <a:gd name="T5" fmla="*/ 0 h 14"/>
                  <a:gd name="T6" fmla="*/ 0 w 20"/>
                  <a:gd name="T7" fmla="*/ 14 h 14"/>
                  <a:gd name="T8" fmla="*/ 0 w 20"/>
                  <a:gd name="T9" fmla="*/ 14 h 14"/>
                  <a:gd name="T10" fmla="*/ 14 w 20"/>
                  <a:gd name="T11" fmla="*/ 14 h 14"/>
                  <a:gd name="T12" fmla="*/ 20 w 20"/>
                  <a:gd name="T13" fmla="*/ 0 h 14"/>
                  <a:gd name="T14" fmla="*/ 20 w 20"/>
                  <a:gd name="T15" fmla="*/ 0 h 14"/>
                  <a:gd name="T16" fmla="*/ 14 w 2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4">
                    <a:moveTo>
                      <a:pt x="14" y="0"/>
                    </a:moveTo>
                    <a:lnTo>
                      <a:pt x="14" y="0"/>
                    </a:lnTo>
                    <a:lnTo>
                      <a:pt x="8" y="0"/>
                    </a:lnTo>
                    <a:lnTo>
                      <a:pt x="0" y="14"/>
                    </a:lnTo>
                    <a:lnTo>
                      <a:pt x="0" y="14"/>
                    </a:lnTo>
                    <a:lnTo>
                      <a:pt x="14" y="14"/>
                    </a:lnTo>
                    <a:lnTo>
                      <a:pt x="20" y="0"/>
                    </a:lnTo>
                    <a:lnTo>
                      <a:pt x="20"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4" name="Freeform 241"/>
              <p:cNvSpPr/>
              <p:nvPr>
                <p:custDataLst>
                  <p:tags r:id="rId32"/>
                </p:custDataLst>
              </p:nvPr>
            </p:nvSpPr>
            <p:spPr bwMode="auto">
              <a:xfrm>
                <a:off x="3970194" y="3304406"/>
                <a:ext cx="16992" cy="31861"/>
              </a:xfrm>
              <a:custGeom>
                <a:avLst/>
                <a:gdLst>
                  <a:gd name="T0" fmla="*/ 10 w 16"/>
                  <a:gd name="T1" fmla="*/ 0 h 30"/>
                  <a:gd name="T2" fmla="*/ 0 w 16"/>
                  <a:gd name="T3" fmla="*/ 26 h 30"/>
                  <a:gd name="T4" fmla="*/ 0 w 16"/>
                  <a:gd name="T5" fmla="*/ 26 h 30"/>
                  <a:gd name="T6" fmla="*/ 6 w 16"/>
                  <a:gd name="T7" fmla="*/ 30 h 30"/>
                  <a:gd name="T8" fmla="*/ 16 w 16"/>
                  <a:gd name="T9" fmla="*/ 2 h 30"/>
                  <a:gd name="T10" fmla="*/ 10 w 16"/>
                  <a:gd name="T11" fmla="*/ 0 h 30"/>
                </a:gdLst>
                <a:ahLst/>
                <a:cxnLst>
                  <a:cxn ang="0">
                    <a:pos x="T0" y="T1"/>
                  </a:cxn>
                  <a:cxn ang="0">
                    <a:pos x="T2" y="T3"/>
                  </a:cxn>
                  <a:cxn ang="0">
                    <a:pos x="T4" y="T5"/>
                  </a:cxn>
                  <a:cxn ang="0">
                    <a:pos x="T6" y="T7"/>
                  </a:cxn>
                  <a:cxn ang="0">
                    <a:pos x="T8" y="T9"/>
                  </a:cxn>
                  <a:cxn ang="0">
                    <a:pos x="T10" y="T11"/>
                  </a:cxn>
                </a:cxnLst>
                <a:rect l="0" t="0" r="r" b="b"/>
                <a:pathLst>
                  <a:path w="16" h="30">
                    <a:moveTo>
                      <a:pt x="10" y="0"/>
                    </a:moveTo>
                    <a:lnTo>
                      <a:pt x="0" y="26"/>
                    </a:lnTo>
                    <a:lnTo>
                      <a:pt x="0" y="26"/>
                    </a:lnTo>
                    <a:lnTo>
                      <a:pt x="6" y="30"/>
                    </a:lnTo>
                    <a:lnTo>
                      <a:pt x="16" y="2"/>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5" name="Freeform 243"/>
              <p:cNvSpPr/>
              <p:nvPr>
                <p:custDataLst>
                  <p:tags r:id="rId33"/>
                </p:custDataLst>
              </p:nvPr>
            </p:nvSpPr>
            <p:spPr bwMode="auto">
              <a:xfrm>
                <a:off x="3917093" y="3926760"/>
                <a:ext cx="19117" cy="6372"/>
              </a:xfrm>
              <a:custGeom>
                <a:avLst/>
                <a:gdLst>
                  <a:gd name="T0" fmla="*/ 18 w 18"/>
                  <a:gd name="T1" fmla="*/ 0 h 6"/>
                  <a:gd name="T2" fmla="*/ 0 w 18"/>
                  <a:gd name="T3" fmla="*/ 6 h 6"/>
                  <a:gd name="T4" fmla="*/ 0 w 18"/>
                  <a:gd name="T5" fmla="*/ 6 h 6"/>
                  <a:gd name="T6" fmla="*/ 0 w 18"/>
                  <a:gd name="T7" fmla="*/ 6 h 6"/>
                  <a:gd name="T8" fmla="*/ 16 w 18"/>
                  <a:gd name="T9" fmla="*/ 2 h 6"/>
                  <a:gd name="T10" fmla="*/ 16 w 18"/>
                  <a:gd name="T11" fmla="*/ 2 h 6"/>
                  <a:gd name="T12" fmla="*/ 18 w 1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8" y="0"/>
                    </a:moveTo>
                    <a:lnTo>
                      <a:pt x="0" y="6"/>
                    </a:lnTo>
                    <a:lnTo>
                      <a:pt x="0" y="6"/>
                    </a:lnTo>
                    <a:lnTo>
                      <a:pt x="0" y="6"/>
                    </a:lnTo>
                    <a:lnTo>
                      <a:pt x="16" y="2"/>
                    </a:lnTo>
                    <a:lnTo>
                      <a:pt x="16" y="2"/>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6" name="Freeform 247"/>
              <p:cNvSpPr/>
              <p:nvPr>
                <p:custDataLst>
                  <p:tags r:id="rId34"/>
                </p:custDataLst>
              </p:nvPr>
            </p:nvSpPr>
            <p:spPr bwMode="auto">
              <a:xfrm>
                <a:off x="3742919" y="3843920"/>
                <a:ext cx="25489" cy="44605"/>
              </a:xfrm>
              <a:custGeom>
                <a:avLst/>
                <a:gdLst>
                  <a:gd name="T0" fmla="*/ 24 w 24"/>
                  <a:gd name="T1" fmla="*/ 0 h 42"/>
                  <a:gd name="T2" fmla="*/ 10 w 24"/>
                  <a:gd name="T3" fmla="*/ 14 h 42"/>
                  <a:gd name="T4" fmla="*/ 0 w 24"/>
                  <a:gd name="T5" fmla="*/ 42 h 42"/>
                  <a:gd name="T6" fmla="*/ 0 w 24"/>
                  <a:gd name="T7" fmla="*/ 42 h 42"/>
                  <a:gd name="T8" fmla="*/ 6 w 24"/>
                  <a:gd name="T9" fmla="*/ 42 h 42"/>
                  <a:gd name="T10" fmla="*/ 24 w 24"/>
                  <a:gd name="T11" fmla="*/ 0 h 42"/>
                </a:gdLst>
                <a:ahLst/>
                <a:cxnLst>
                  <a:cxn ang="0">
                    <a:pos x="T0" y="T1"/>
                  </a:cxn>
                  <a:cxn ang="0">
                    <a:pos x="T2" y="T3"/>
                  </a:cxn>
                  <a:cxn ang="0">
                    <a:pos x="T4" y="T5"/>
                  </a:cxn>
                  <a:cxn ang="0">
                    <a:pos x="T6" y="T7"/>
                  </a:cxn>
                  <a:cxn ang="0">
                    <a:pos x="T8" y="T9"/>
                  </a:cxn>
                  <a:cxn ang="0">
                    <a:pos x="T10" y="T11"/>
                  </a:cxn>
                </a:cxnLst>
                <a:rect l="0" t="0" r="r" b="b"/>
                <a:pathLst>
                  <a:path w="24" h="42">
                    <a:moveTo>
                      <a:pt x="24" y="0"/>
                    </a:moveTo>
                    <a:lnTo>
                      <a:pt x="10" y="14"/>
                    </a:lnTo>
                    <a:lnTo>
                      <a:pt x="0" y="42"/>
                    </a:lnTo>
                    <a:lnTo>
                      <a:pt x="0" y="42"/>
                    </a:lnTo>
                    <a:lnTo>
                      <a:pt x="6" y="42"/>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7" name="Freeform 250"/>
              <p:cNvSpPr/>
              <p:nvPr>
                <p:custDataLst>
                  <p:tags r:id="rId35"/>
                </p:custDataLst>
              </p:nvPr>
            </p:nvSpPr>
            <p:spPr bwMode="auto">
              <a:xfrm>
                <a:off x="3609103" y="3950124"/>
                <a:ext cx="27613" cy="23364"/>
              </a:xfrm>
              <a:custGeom>
                <a:avLst/>
                <a:gdLst>
                  <a:gd name="T0" fmla="*/ 6 w 26"/>
                  <a:gd name="T1" fmla="*/ 0 h 22"/>
                  <a:gd name="T2" fmla="*/ 0 w 26"/>
                  <a:gd name="T3" fmla="*/ 8 h 22"/>
                  <a:gd name="T4" fmla="*/ 0 w 26"/>
                  <a:gd name="T5" fmla="*/ 8 h 22"/>
                  <a:gd name="T6" fmla="*/ 22 w 26"/>
                  <a:gd name="T7" fmla="*/ 22 h 22"/>
                  <a:gd name="T8" fmla="*/ 26 w 26"/>
                  <a:gd name="T9" fmla="*/ 12 h 22"/>
                  <a:gd name="T10" fmla="*/ 26 w 26"/>
                  <a:gd name="T11" fmla="*/ 12 h 22"/>
                  <a:gd name="T12" fmla="*/ 6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6" y="0"/>
                    </a:moveTo>
                    <a:lnTo>
                      <a:pt x="0" y="8"/>
                    </a:lnTo>
                    <a:lnTo>
                      <a:pt x="0" y="8"/>
                    </a:lnTo>
                    <a:lnTo>
                      <a:pt x="22" y="22"/>
                    </a:lnTo>
                    <a:lnTo>
                      <a:pt x="26" y="12"/>
                    </a:lnTo>
                    <a:lnTo>
                      <a:pt x="26"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8" name="Freeform 251"/>
              <p:cNvSpPr/>
              <p:nvPr>
                <p:custDataLst>
                  <p:tags r:id="rId36"/>
                </p:custDataLst>
              </p:nvPr>
            </p:nvSpPr>
            <p:spPr bwMode="auto">
              <a:xfrm>
                <a:off x="3528389" y="3829052"/>
                <a:ext cx="61598" cy="110452"/>
              </a:xfrm>
              <a:custGeom>
                <a:avLst/>
                <a:gdLst>
                  <a:gd name="T0" fmla="*/ 0 w 58"/>
                  <a:gd name="T1" fmla="*/ 0 h 104"/>
                  <a:gd name="T2" fmla="*/ 0 w 58"/>
                  <a:gd name="T3" fmla="*/ 0 h 104"/>
                  <a:gd name="T4" fmla="*/ 4 w 58"/>
                  <a:gd name="T5" fmla="*/ 20 h 104"/>
                  <a:gd name="T6" fmla="*/ 12 w 58"/>
                  <a:gd name="T7" fmla="*/ 40 h 104"/>
                  <a:gd name="T8" fmla="*/ 12 w 58"/>
                  <a:gd name="T9" fmla="*/ 40 h 104"/>
                  <a:gd name="T10" fmla="*/ 20 w 58"/>
                  <a:gd name="T11" fmla="*/ 58 h 104"/>
                  <a:gd name="T12" fmla="*/ 30 w 58"/>
                  <a:gd name="T13" fmla="*/ 74 h 104"/>
                  <a:gd name="T14" fmla="*/ 42 w 58"/>
                  <a:gd name="T15" fmla="*/ 88 h 104"/>
                  <a:gd name="T16" fmla="*/ 56 w 58"/>
                  <a:gd name="T17" fmla="*/ 104 h 104"/>
                  <a:gd name="T18" fmla="*/ 58 w 58"/>
                  <a:gd name="T19" fmla="*/ 96 h 104"/>
                  <a:gd name="T20" fmla="*/ 58 w 58"/>
                  <a:gd name="T21" fmla="*/ 96 h 104"/>
                  <a:gd name="T22" fmla="*/ 44 w 58"/>
                  <a:gd name="T23" fmla="*/ 80 h 104"/>
                  <a:gd name="T24" fmla="*/ 30 w 58"/>
                  <a:gd name="T25" fmla="*/ 64 h 104"/>
                  <a:gd name="T26" fmla="*/ 18 w 58"/>
                  <a:gd name="T27" fmla="*/ 46 h 104"/>
                  <a:gd name="T28" fmla="*/ 8 w 58"/>
                  <a:gd name="T29" fmla="*/ 28 h 104"/>
                  <a:gd name="T30" fmla="*/ 8 w 58"/>
                  <a:gd name="T31" fmla="*/ 28 h 104"/>
                  <a:gd name="T32" fmla="*/ 4 w 58"/>
                  <a:gd name="T33" fmla="*/ 14 h 104"/>
                  <a:gd name="T34" fmla="*/ 0 w 58"/>
                  <a:gd name="T3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104">
                    <a:moveTo>
                      <a:pt x="0" y="0"/>
                    </a:moveTo>
                    <a:lnTo>
                      <a:pt x="0" y="0"/>
                    </a:lnTo>
                    <a:lnTo>
                      <a:pt x="4" y="20"/>
                    </a:lnTo>
                    <a:lnTo>
                      <a:pt x="12" y="40"/>
                    </a:lnTo>
                    <a:lnTo>
                      <a:pt x="12" y="40"/>
                    </a:lnTo>
                    <a:lnTo>
                      <a:pt x="20" y="58"/>
                    </a:lnTo>
                    <a:lnTo>
                      <a:pt x="30" y="74"/>
                    </a:lnTo>
                    <a:lnTo>
                      <a:pt x="42" y="88"/>
                    </a:lnTo>
                    <a:lnTo>
                      <a:pt x="56" y="104"/>
                    </a:lnTo>
                    <a:lnTo>
                      <a:pt x="58" y="96"/>
                    </a:lnTo>
                    <a:lnTo>
                      <a:pt x="58" y="96"/>
                    </a:lnTo>
                    <a:lnTo>
                      <a:pt x="44" y="80"/>
                    </a:lnTo>
                    <a:lnTo>
                      <a:pt x="30" y="64"/>
                    </a:lnTo>
                    <a:lnTo>
                      <a:pt x="18" y="46"/>
                    </a:lnTo>
                    <a:lnTo>
                      <a:pt x="8" y="28"/>
                    </a:lnTo>
                    <a:lnTo>
                      <a:pt x="8" y="28"/>
                    </a:lnTo>
                    <a:lnTo>
                      <a:pt x="4"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29" name="Freeform 252"/>
              <p:cNvSpPr/>
              <p:nvPr>
                <p:custDataLst>
                  <p:tags r:id="rId37"/>
                </p:custDataLst>
              </p:nvPr>
            </p:nvSpPr>
            <p:spPr bwMode="auto">
              <a:xfrm>
                <a:off x="3851247" y="3778075"/>
                <a:ext cx="4248" cy="14869"/>
              </a:xfrm>
              <a:custGeom>
                <a:avLst/>
                <a:gdLst>
                  <a:gd name="T0" fmla="*/ 0 w 4"/>
                  <a:gd name="T1" fmla="*/ 0 h 14"/>
                  <a:gd name="T2" fmla="*/ 0 w 4"/>
                  <a:gd name="T3" fmla="*/ 2 h 14"/>
                  <a:gd name="T4" fmla="*/ 0 w 4"/>
                  <a:gd name="T5" fmla="*/ 2 h 14"/>
                  <a:gd name="T6" fmla="*/ 4 w 4"/>
                  <a:gd name="T7" fmla="*/ 12 h 14"/>
                  <a:gd name="T8" fmla="*/ 4 w 4"/>
                  <a:gd name="T9" fmla="*/ 14 h 14"/>
                  <a:gd name="T10" fmla="*/ 4 w 4"/>
                  <a:gd name="T11" fmla="*/ 14 h 14"/>
                  <a:gd name="T12" fmla="*/ 0 w 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 h="14">
                    <a:moveTo>
                      <a:pt x="0" y="0"/>
                    </a:moveTo>
                    <a:lnTo>
                      <a:pt x="0" y="2"/>
                    </a:lnTo>
                    <a:lnTo>
                      <a:pt x="0" y="2"/>
                    </a:lnTo>
                    <a:lnTo>
                      <a:pt x="4" y="12"/>
                    </a:lnTo>
                    <a:lnTo>
                      <a:pt x="4" y="14"/>
                    </a:lnTo>
                    <a:lnTo>
                      <a:pt x="4"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0" name="Freeform 253"/>
              <p:cNvSpPr/>
              <p:nvPr>
                <p:custDataLst>
                  <p:tags r:id="rId38"/>
                </p:custDataLst>
              </p:nvPr>
            </p:nvSpPr>
            <p:spPr bwMode="auto">
              <a:xfrm>
                <a:off x="3649461" y="3748336"/>
                <a:ext cx="4248" cy="27613"/>
              </a:xfrm>
              <a:custGeom>
                <a:avLst/>
                <a:gdLst>
                  <a:gd name="T0" fmla="*/ 0 w 4"/>
                  <a:gd name="T1" fmla="*/ 0 h 26"/>
                  <a:gd name="T2" fmla="*/ 0 w 4"/>
                  <a:gd name="T3" fmla="*/ 0 h 26"/>
                  <a:gd name="T4" fmla="*/ 0 w 4"/>
                  <a:gd name="T5" fmla="*/ 14 h 26"/>
                  <a:gd name="T6" fmla="*/ 0 w 4"/>
                  <a:gd name="T7" fmla="*/ 26 h 26"/>
                  <a:gd name="T8" fmla="*/ 0 w 4"/>
                  <a:gd name="T9" fmla="*/ 26 h 26"/>
                  <a:gd name="T10" fmla="*/ 4 w 4"/>
                  <a:gd name="T11" fmla="*/ 0 h 26"/>
                  <a:gd name="T12" fmla="*/ 0 w 4"/>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 h="26">
                    <a:moveTo>
                      <a:pt x="0" y="0"/>
                    </a:moveTo>
                    <a:lnTo>
                      <a:pt x="0" y="0"/>
                    </a:lnTo>
                    <a:lnTo>
                      <a:pt x="0" y="14"/>
                    </a:lnTo>
                    <a:lnTo>
                      <a:pt x="0" y="26"/>
                    </a:lnTo>
                    <a:lnTo>
                      <a:pt x="0" y="26"/>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1" name="Freeform 254"/>
              <p:cNvSpPr/>
              <p:nvPr>
                <p:custDataLst>
                  <p:tags r:id="rId39"/>
                </p:custDataLst>
              </p:nvPr>
            </p:nvSpPr>
            <p:spPr bwMode="auto">
              <a:xfrm>
                <a:off x="3753539" y="3722847"/>
                <a:ext cx="87086" cy="135941"/>
              </a:xfrm>
              <a:custGeom>
                <a:avLst/>
                <a:gdLst>
                  <a:gd name="T0" fmla="*/ 52 w 82"/>
                  <a:gd name="T1" fmla="*/ 0 h 128"/>
                  <a:gd name="T2" fmla="*/ 0 w 82"/>
                  <a:gd name="T3" fmla="*/ 128 h 128"/>
                  <a:gd name="T4" fmla="*/ 14 w 82"/>
                  <a:gd name="T5" fmla="*/ 114 h 128"/>
                  <a:gd name="T6" fmla="*/ 54 w 82"/>
                  <a:gd name="T7" fmla="*/ 12 h 128"/>
                  <a:gd name="T8" fmla="*/ 54 w 82"/>
                  <a:gd name="T9" fmla="*/ 12 h 128"/>
                  <a:gd name="T10" fmla="*/ 68 w 82"/>
                  <a:gd name="T11" fmla="*/ 24 h 128"/>
                  <a:gd name="T12" fmla="*/ 78 w 82"/>
                  <a:gd name="T13" fmla="*/ 36 h 128"/>
                  <a:gd name="T14" fmla="*/ 82 w 82"/>
                  <a:gd name="T15" fmla="*/ 30 h 128"/>
                  <a:gd name="T16" fmla="*/ 82 w 82"/>
                  <a:gd name="T17" fmla="*/ 30 h 128"/>
                  <a:gd name="T18" fmla="*/ 70 w 82"/>
                  <a:gd name="T19" fmla="*/ 16 h 128"/>
                  <a:gd name="T20" fmla="*/ 52 w 82"/>
                  <a:gd name="T2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128">
                    <a:moveTo>
                      <a:pt x="52" y="0"/>
                    </a:moveTo>
                    <a:lnTo>
                      <a:pt x="0" y="128"/>
                    </a:lnTo>
                    <a:lnTo>
                      <a:pt x="14" y="114"/>
                    </a:lnTo>
                    <a:lnTo>
                      <a:pt x="54" y="12"/>
                    </a:lnTo>
                    <a:lnTo>
                      <a:pt x="54" y="12"/>
                    </a:lnTo>
                    <a:lnTo>
                      <a:pt x="68" y="24"/>
                    </a:lnTo>
                    <a:lnTo>
                      <a:pt x="78" y="36"/>
                    </a:lnTo>
                    <a:lnTo>
                      <a:pt x="82" y="30"/>
                    </a:lnTo>
                    <a:lnTo>
                      <a:pt x="82" y="30"/>
                    </a:lnTo>
                    <a:lnTo>
                      <a:pt x="70" y="16"/>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2" name="Freeform 256"/>
              <p:cNvSpPr/>
              <p:nvPr>
                <p:custDataLst>
                  <p:tags r:id="rId40"/>
                </p:custDataLst>
              </p:nvPr>
            </p:nvSpPr>
            <p:spPr bwMode="auto">
              <a:xfrm>
                <a:off x="4050909" y="3535930"/>
                <a:ext cx="23364" cy="29737"/>
              </a:xfrm>
              <a:custGeom>
                <a:avLst/>
                <a:gdLst>
                  <a:gd name="T0" fmla="*/ 22 w 22"/>
                  <a:gd name="T1" fmla="*/ 0 h 28"/>
                  <a:gd name="T2" fmla="*/ 20 w 22"/>
                  <a:gd name="T3" fmla="*/ 2 h 28"/>
                  <a:gd name="T4" fmla="*/ 20 w 22"/>
                  <a:gd name="T5" fmla="*/ 2 h 28"/>
                  <a:gd name="T6" fmla="*/ 18 w 22"/>
                  <a:gd name="T7" fmla="*/ 14 h 28"/>
                  <a:gd name="T8" fmla="*/ 16 w 22"/>
                  <a:gd name="T9" fmla="*/ 12 h 28"/>
                  <a:gd name="T10" fmla="*/ 16 w 22"/>
                  <a:gd name="T11" fmla="*/ 12 h 28"/>
                  <a:gd name="T12" fmla="*/ 16 w 22"/>
                  <a:gd name="T13" fmla="*/ 16 h 28"/>
                  <a:gd name="T14" fmla="*/ 8 w 22"/>
                  <a:gd name="T15" fmla="*/ 14 h 28"/>
                  <a:gd name="T16" fmla="*/ 0 w 22"/>
                  <a:gd name="T17" fmla="*/ 24 h 28"/>
                  <a:gd name="T18" fmla="*/ 18 w 22"/>
                  <a:gd name="T19" fmla="*/ 28 h 28"/>
                  <a:gd name="T20" fmla="*/ 18 w 22"/>
                  <a:gd name="T21" fmla="*/ 28 h 28"/>
                  <a:gd name="T22" fmla="*/ 22 w 2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8">
                    <a:moveTo>
                      <a:pt x="22" y="0"/>
                    </a:moveTo>
                    <a:lnTo>
                      <a:pt x="20" y="2"/>
                    </a:lnTo>
                    <a:lnTo>
                      <a:pt x="20" y="2"/>
                    </a:lnTo>
                    <a:lnTo>
                      <a:pt x="18" y="14"/>
                    </a:lnTo>
                    <a:lnTo>
                      <a:pt x="16" y="12"/>
                    </a:lnTo>
                    <a:lnTo>
                      <a:pt x="16" y="12"/>
                    </a:lnTo>
                    <a:lnTo>
                      <a:pt x="16" y="16"/>
                    </a:lnTo>
                    <a:lnTo>
                      <a:pt x="8" y="14"/>
                    </a:lnTo>
                    <a:lnTo>
                      <a:pt x="0" y="24"/>
                    </a:lnTo>
                    <a:lnTo>
                      <a:pt x="18" y="28"/>
                    </a:lnTo>
                    <a:lnTo>
                      <a:pt x="18" y="2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3" name="Freeform 257"/>
              <p:cNvSpPr/>
              <p:nvPr>
                <p:custDataLst>
                  <p:tags r:id="rId41"/>
                </p:custDataLst>
              </p:nvPr>
            </p:nvSpPr>
            <p:spPr bwMode="auto">
              <a:xfrm>
                <a:off x="3955326" y="3523186"/>
                <a:ext cx="65845" cy="27613"/>
              </a:xfrm>
              <a:custGeom>
                <a:avLst/>
                <a:gdLst>
                  <a:gd name="T0" fmla="*/ 0 w 62"/>
                  <a:gd name="T1" fmla="*/ 0 h 26"/>
                  <a:gd name="T2" fmla="*/ 0 w 62"/>
                  <a:gd name="T3" fmla="*/ 0 h 26"/>
                  <a:gd name="T4" fmla="*/ 0 w 62"/>
                  <a:gd name="T5" fmla="*/ 12 h 26"/>
                  <a:gd name="T6" fmla="*/ 54 w 62"/>
                  <a:gd name="T7" fmla="*/ 26 h 26"/>
                  <a:gd name="T8" fmla="*/ 62 w 62"/>
                  <a:gd name="T9" fmla="*/ 16 h 26"/>
                  <a:gd name="T10" fmla="*/ 0 w 62"/>
                  <a:gd name="T11" fmla="*/ 0 h 26"/>
                </a:gdLst>
                <a:ahLst/>
                <a:cxnLst>
                  <a:cxn ang="0">
                    <a:pos x="T0" y="T1"/>
                  </a:cxn>
                  <a:cxn ang="0">
                    <a:pos x="T2" y="T3"/>
                  </a:cxn>
                  <a:cxn ang="0">
                    <a:pos x="T4" y="T5"/>
                  </a:cxn>
                  <a:cxn ang="0">
                    <a:pos x="T6" y="T7"/>
                  </a:cxn>
                  <a:cxn ang="0">
                    <a:pos x="T8" y="T9"/>
                  </a:cxn>
                  <a:cxn ang="0">
                    <a:pos x="T10" y="T11"/>
                  </a:cxn>
                </a:cxnLst>
                <a:rect l="0" t="0" r="r" b="b"/>
                <a:pathLst>
                  <a:path w="62" h="26">
                    <a:moveTo>
                      <a:pt x="0" y="0"/>
                    </a:moveTo>
                    <a:lnTo>
                      <a:pt x="0" y="0"/>
                    </a:lnTo>
                    <a:lnTo>
                      <a:pt x="0" y="12"/>
                    </a:lnTo>
                    <a:lnTo>
                      <a:pt x="54" y="26"/>
                    </a:lnTo>
                    <a:lnTo>
                      <a:pt x="62"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4" name="Freeform 258"/>
              <p:cNvSpPr/>
              <p:nvPr>
                <p:custDataLst>
                  <p:tags r:id="rId42"/>
                </p:custDataLst>
              </p:nvPr>
            </p:nvSpPr>
            <p:spPr bwMode="auto">
              <a:xfrm>
                <a:off x="3861868" y="3453091"/>
                <a:ext cx="65845" cy="148685"/>
              </a:xfrm>
              <a:custGeom>
                <a:avLst/>
                <a:gdLst>
                  <a:gd name="T0" fmla="*/ 62 w 62"/>
                  <a:gd name="T1" fmla="*/ 0 h 140"/>
                  <a:gd name="T2" fmla="*/ 42 w 62"/>
                  <a:gd name="T3" fmla="*/ 30 h 140"/>
                  <a:gd name="T4" fmla="*/ 0 w 62"/>
                  <a:gd name="T5" fmla="*/ 136 h 140"/>
                  <a:gd name="T6" fmla="*/ 0 w 62"/>
                  <a:gd name="T7" fmla="*/ 136 h 140"/>
                  <a:gd name="T8" fmla="*/ 4 w 62"/>
                  <a:gd name="T9" fmla="*/ 140 h 140"/>
                  <a:gd name="T10" fmla="*/ 62 w 62"/>
                  <a:gd name="T11" fmla="*/ 0 h 140"/>
                </a:gdLst>
                <a:ahLst/>
                <a:cxnLst>
                  <a:cxn ang="0">
                    <a:pos x="T0" y="T1"/>
                  </a:cxn>
                  <a:cxn ang="0">
                    <a:pos x="T2" y="T3"/>
                  </a:cxn>
                  <a:cxn ang="0">
                    <a:pos x="T4" y="T5"/>
                  </a:cxn>
                  <a:cxn ang="0">
                    <a:pos x="T6" y="T7"/>
                  </a:cxn>
                  <a:cxn ang="0">
                    <a:pos x="T8" y="T9"/>
                  </a:cxn>
                  <a:cxn ang="0">
                    <a:pos x="T10" y="T11"/>
                  </a:cxn>
                </a:cxnLst>
                <a:rect l="0" t="0" r="r" b="b"/>
                <a:pathLst>
                  <a:path w="62" h="140">
                    <a:moveTo>
                      <a:pt x="62" y="0"/>
                    </a:moveTo>
                    <a:lnTo>
                      <a:pt x="42" y="30"/>
                    </a:lnTo>
                    <a:lnTo>
                      <a:pt x="0" y="136"/>
                    </a:lnTo>
                    <a:lnTo>
                      <a:pt x="0" y="136"/>
                    </a:lnTo>
                    <a:lnTo>
                      <a:pt x="4" y="140"/>
                    </a:lnTo>
                    <a:lnTo>
                      <a:pt x="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5" name="Freeform 259"/>
              <p:cNvSpPr/>
              <p:nvPr>
                <p:custDataLst>
                  <p:tags r:id="rId43"/>
                </p:custDataLst>
              </p:nvPr>
            </p:nvSpPr>
            <p:spPr bwMode="auto">
              <a:xfrm>
                <a:off x="3931961" y="3440347"/>
                <a:ext cx="21241" cy="42481"/>
              </a:xfrm>
              <a:custGeom>
                <a:avLst/>
                <a:gdLst>
                  <a:gd name="T0" fmla="*/ 4 w 20"/>
                  <a:gd name="T1" fmla="*/ 0 h 40"/>
                  <a:gd name="T2" fmla="*/ 0 w 20"/>
                  <a:gd name="T3" fmla="*/ 6 h 40"/>
                  <a:gd name="T4" fmla="*/ 0 w 20"/>
                  <a:gd name="T5" fmla="*/ 6 h 40"/>
                  <a:gd name="T6" fmla="*/ 6 w 20"/>
                  <a:gd name="T7" fmla="*/ 14 h 40"/>
                  <a:gd name="T8" fmla="*/ 12 w 20"/>
                  <a:gd name="T9" fmla="*/ 22 h 40"/>
                  <a:gd name="T10" fmla="*/ 20 w 20"/>
                  <a:gd name="T11" fmla="*/ 40 h 40"/>
                  <a:gd name="T12" fmla="*/ 20 w 20"/>
                  <a:gd name="T13" fmla="*/ 40 h 40"/>
                  <a:gd name="T14" fmla="*/ 18 w 20"/>
                  <a:gd name="T15" fmla="*/ 28 h 40"/>
                  <a:gd name="T16" fmla="*/ 14 w 20"/>
                  <a:gd name="T17" fmla="*/ 18 h 40"/>
                  <a:gd name="T18" fmla="*/ 10 w 20"/>
                  <a:gd name="T19" fmla="*/ 8 h 40"/>
                  <a:gd name="T20" fmla="*/ 4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4" y="0"/>
                    </a:moveTo>
                    <a:lnTo>
                      <a:pt x="0" y="6"/>
                    </a:lnTo>
                    <a:lnTo>
                      <a:pt x="0" y="6"/>
                    </a:lnTo>
                    <a:lnTo>
                      <a:pt x="6" y="14"/>
                    </a:lnTo>
                    <a:lnTo>
                      <a:pt x="12" y="22"/>
                    </a:lnTo>
                    <a:lnTo>
                      <a:pt x="20" y="40"/>
                    </a:lnTo>
                    <a:lnTo>
                      <a:pt x="20" y="40"/>
                    </a:lnTo>
                    <a:lnTo>
                      <a:pt x="18" y="28"/>
                    </a:lnTo>
                    <a:lnTo>
                      <a:pt x="14" y="18"/>
                    </a:lnTo>
                    <a:lnTo>
                      <a:pt x="10"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6" name="Freeform 266"/>
              <p:cNvSpPr/>
              <p:nvPr>
                <p:custDataLst>
                  <p:tags r:id="rId44"/>
                </p:custDataLst>
              </p:nvPr>
            </p:nvSpPr>
            <p:spPr bwMode="auto">
              <a:xfrm>
                <a:off x="3978691" y="3771702"/>
                <a:ext cx="2124" cy="19117"/>
              </a:xfrm>
              <a:custGeom>
                <a:avLst/>
                <a:gdLst>
                  <a:gd name="T0" fmla="*/ 2 w 2"/>
                  <a:gd name="T1" fmla="*/ 0 h 18"/>
                  <a:gd name="T2" fmla="*/ 0 w 2"/>
                  <a:gd name="T3" fmla="*/ 2 h 18"/>
                  <a:gd name="T4" fmla="*/ 0 w 2"/>
                  <a:gd name="T5" fmla="*/ 2 h 18"/>
                  <a:gd name="T6" fmla="*/ 2 w 2"/>
                  <a:gd name="T7" fmla="*/ 18 h 18"/>
                  <a:gd name="T8" fmla="*/ 2 w 2"/>
                  <a:gd name="T9" fmla="*/ 18 h 18"/>
                  <a:gd name="T10" fmla="*/ 2 w 2"/>
                  <a:gd name="T11" fmla="*/ 0 h 18"/>
                </a:gdLst>
                <a:ahLst/>
                <a:cxnLst>
                  <a:cxn ang="0">
                    <a:pos x="T0" y="T1"/>
                  </a:cxn>
                  <a:cxn ang="0">
                    <a:pos x="T2" y="T3"/>
                  </a:cxn>
                  <a:cxn ang="0">
                    <a:pos x="T4" y="T5"/>
                  </a:cxn>
                  <a:cxn ang="0">
                    <a:pos x="T6" y="T7"/>
                  </a:cxn>
                  <a:cxn ang="0">
                    <a:pos x="T8" y="T9"/>
                  </a:cxn>
                  <a:cxn ang="0">
                    <a:pos x="T10" y="T11"/>
                  </a:cxn>
                </a:cxnLst>
                <a:rect l="0" t="0" r="r" b="b"/>
                <a:pathLst>
                  <a:path w="2" h="18">
                    <a:moveTo>
                      <a:pt x="2" y="0"/>
                    </a:moveTo>
                    <a:lnTo>
                      <a:pt x="0" y="2"/>
                    </a:lnTo>
                    <a:lnTo>
                      <a:pt x="0" y="2"/>
                    </a:lnTo>
                    <a:lnTo>
                      <a:pt x="2" y="18"/>
                    </a:lnTo>
                    <a:lnTo>
                      <a:pt x="2" y="18"/>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7" name="Freeform 267"/>
              <p:cNvSpPr/>
              <p:nvPr>
                <p:custDataLst>
                  <p:tags r:id="rId45"/>
                </p:custDataLst>
              </p:nvPr>
            </p:nvSpPr>
            <p:spPr bwMode="auto">
              <a:xfrm>
                <a:off x="3842750" y="3654878"/>
                <a:ext cx="101955" cy="121072"/>
              </a:xfrm>
              <a:custGeom>
                <a:avLst/>
                <a:gdLst>
                  <a:gd name="T0" fmla="*/ 78 w 96"/>
                  <a:gd name="T1" fmla="*/ 0 h 114"/>
                  <a:gd name="T2" fmla="*/ 0 w 96"/>
                  <a:gd name="T3" fmla="*/ 92 h 114"/>
                  <a:gd name="T4" fmla="*/ 0 w 96"/>
                  <a:gd name="T5" fmla="*/ 92 h 114"/>
                  <a:gd name="T6" fmla="*/ 6 w 96"/>
                  <a:gd name="T7" fmla="*/ 102 h 114"/>
                  <a:gd name="T8" fmla="*/ 10 w 96"/>
                  <a:gd name="T9" fmla="*/ 112 h 114"/>
                  <a:gd name="T10" fmla="*/ 10 w 96"/>
                  <a:gd name="T11" fmla="*/ 112 h 114"/>
                  <a:gd name="T12" fmla="*/ 12 w 96"/>
                  <a:gd name="T13" fmla="*/ 114 h 114"/>
                  <a:gd name="T14" fmla="*/ 96 w 96"/>
                  <a:gd name="T15" fmla="*/ 22 h 114"/>
                  <a:gd name="T16" fmla="*/ 96 w 96"/>
                  <a:gd name="T17" fmla="*/ 22 h 114"/>
                  <a:gd name="T18" fmla="*/ 78 w 96"/>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4">
                    <a:moveTo>
                      <a:pt x="78" y="0"/>
                    </a:moveTo>
                    <a:lnTo>
                      <a:pt x="0" y="92"/>
                    </a:lnTo>
                    <a:lnTo>
                      <a:pt x="0" y="92"/>
                    </a:lnTo>
                    <a:lnTo>
                      <a:pt x="6" y="102"/>
                    </a:lnTo>
                    <a:lnTo>
                      <a:pt x="10" y="112"/>
                    </a:lnTo>
                    <a:lnTo>
                      <a:pt x="10" y="112"/>
                    </a:lnTo>
                    <a:lnTo>
                      <a:pt x="12" y="114"/>
                    </a:lnTo>
                    <a:lnTo>
                      <a:pt x="96" y="22"/>
                    </a:lnTo>
                    <a:lnTo>
                      <a:pt x="96" y="22"/>
                    </a:lnTo>
                    <a:lnTo>
                      <a:pt x="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8" name="Freeform 268"/>
              <p:cNvSpPr/>
              <p:nvPr>
                <p:custDataLst>
                  <p:tags r:id="rId46"/>
                </p:custDataLst>
              </p:nvPr>
            </p:nvSpPr>
            <p:spPr bwMode="auto">
              <a:xfrm>
                <a:off x="4023296" y="3480705"/>
                <a:ext cx="48853" cy="67970"/>
              </a:xfrm>
              <a:custGeom>
                <a:avLst/>
                <a:gdLst>
                  <a:gd name="T0" fmla="*/ 46 w 46"/>
                  <a:gd name="T1" fmla="*/ 0 h 64"/>
                  <a:gd name="T2" fmla="*/ 0 w 46"/>
                  <a:gd name="T3" fmla="*/ 54 h 64"/>
                  <a:gd name="T4" fmla="*/ 38 w 46"/>
                  <a:gd name="T5" fmla="*/ 64 h 64"/>
                  <a:gd name="T6" fmla="*/ 44 w 46"/>
                  <a:gd name="T7" fmla="*/ 56 h 64"/>
                  <a:gd name="T8" fmla="*/ 44 w 46"/>
                  <a:gd name="T9" fmla="*/ 56 h 64"/>
                  <a:gd name="T10" fmla="*/ 46 w 46"/>
                  <a:gd name="T11" fmla="*/ 28 h 64"/>
                  <a:gd name="T12" fmla="*/ 46 w 46"/>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46" h="64">
                    <a:moveTo>
                      <a:pt x="46" y="0"/>
                    </a:moveTo>
                    <a:lnTo>
                      <a:pt x="0" y="54"/>
                    </a:lnTo>
                    <a:lnTo>
                      <a:pt x="38" y="64"/>
                    </a:lnTo>
                    <a:lnTo>
                      <a:pt x="44" y="56"/>
                    </a:lnTo>
                    <a:lnTo>
                      <a:pt x="44" y="56"/>
                    </a:lnTo>
                    <a:lnTo>
                      <a:pt x="46" y="2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39" name="Freeform 269"/>
              <p:cNvSpPr/>
              <p:nvPr>
                <p:custDataLst>
                  <p:tags r:id="rId47"/>
                </p:custDataLst>
              </p:nvPr>
            </p:nvSpPr>
            <p:spPr bwMode="auto">
              <a:xfrm>
                <a:off x="4072149" y="3476457"/>
                <a:ext cx="4248" cy="27613"/>
              </a:xfrm>
              <a:custGeom>
                <a:avLst/>
                <a:gdLst>
                  <a:gd name="T0" fmla="*/ 2 w 4"/>
                  <a:gd name="T1" fmla="*/ 0 h 26"/>
                  <a:gd name="T2" fmla="*/ 0 w 4"/>
                  <a:gd name="T3" fmla="*/ 2 h 26"/>
                  <a:gd name="T4" fmla="*/ 0 w 4"/>
                  <a:gd name="T5" fmla="*/ 2 h 26"/>
                  <a:gd name="T6" fmla="*/ 4 w 4"/>
                  <a:gd name="T7" fmla="*/ 26 h 26"/>
                  <a:gd name="T8" fmla="*/ 4 w 4"/>
                  <a:gd name="T9" fmla="*/ 26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0" y="2"/>
                    </a:lnTo>
                    <a:lnTo>
                      <a:pt x="0" y="2"/>
                    </a:lnTo>
                    <a:lnTo>
                      <a:pt x="4" y="26"/>
                    </a:lnTo>
                    <a:lnTo>
                      <a:pt x="4" y="26"/>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0" name="Freeform 272"/>
              <p:cNvSpPr/>
              <p:nvPr>
                <p:custDataLst>
                  <p:tags r:id="rId48"/>
                </p:custDataLst>
              </p:nvPr>
            </p:nvSpPr>
            <p:spPr bwMode="auto">
              <a:xfrm>
                <a:off x="3914969" y="3933131"/>
                <a:ext cx="2124"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1" name="Freeform 273"/>
              <p:cNvSpPr/>
              <p:nvPr>
                <p:custDataLst>
                  <p:tags r:id="rId49"/>
                </p:custDataLst>
              </p:nvPr>
            </p:nvSpPr>
            <p:spPr bwMode="auto">
              <a:xfrm>
                <a:off x="3948954" y="3807811"/>
                <a:ext cx="25489" cy="16992"/>
              </a:xfrm>
              <a:custGeom>
                <a:avLst/>
                <a:gdLst>
                  <a:gd name="T0" fmla="*/ 4 w 24"/>
                  <a:gd name="T1" fmla="*/ 0 h 16"/>
                  <a:gd name="T2" fmla="*/ 0 w 24"/>
                  <a:gd name="T3" fmla="*/ 4 h 16"/>
                  <a:gd name="T4" fmla="*/ 22 w 24"/>
                  <a:gd name="T5" fmla="*/ 16 h 16"/>
                  <a:gd name="T6" fmla="*/ 22 w 24"/>
                  <a:gd name="T7" fmla="*/ 16 h 16"/>
                  <a:gd name="T8" fmla="*/ 24 w 24"/>
                  <a:gd name="T9" fmla="*/ 8 h 16"/>
                  <a:gd name="T10" fmla="*/ 4 w 24"/>
                  <a:gd name="T11" fmla="*/ 0 h 16"/>
                </a:gdLst>
                <a:ahLst/>
                <a:cxnLst>
                  <a:cxn ang="0">
                    <a:pos x="T0" y="T1"/>
                  </a:cxn>
                  <a:cxn ang="0">
                    <a:pos x="T2" y="T3"/>
                  </a:cxn>
                  <a:cxn ang="0">
                    <a:pos x="T4" y="T5"/>
                  </a:cxn>
                  <a:cxn ang="0">
                    <a:pos x="T6" y="T7"/>
                  </a:cxn>
                  <a:cxn ang="0">
                    <a:pos x="T8" y="T9"/>
                  </a:cxn>
                  <a:cxn ang="0">
                    <a:pos x="T10" y="T11"/>
                  </a:cxn>
                </a:cxnLst>
                <a:rect l="0" t="0" r="r" b="b"/>
                <a:pathLst>
                  <a:path w="24" h="16">
                    <a:moveTo>
                      <a:pt x="4" y="0"/>
                    </a:moveTo>
                    <a:lnTo>
                      <a:pt x="0" y="4"/>
                    </a:lnTo>
                    <a:lnTo>
                      <a:pt x="22" y="16"/>
                    </a:lnTo>
                    <a:lnTo>
                      <a:pt x="22" y="16"/>
                    </a:lnTo>
                    <a:lnTo>
                      <a:pt x="24"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2" name="Freeform 277"/>
              <p:cNvSpPr/>
              <p:nvPr>
                <p:custDataLst>
                  <p:tags r:id="rId50"/>
                </p:custDataLst>
              </p:nvPr>
            </p:nvSpPr>
            <p:spPr bwMode="auto">
              <a:xfrm>
                <a:off x="4063654" y="3540178"/>
                <a:ext cx="6372" cy="8497"/>
              </a:xfrm>
              <a:custGeom>
                <a:avLst/>
                <a:gdLst>
                  <a:gd name="T0" fmla="*/ 6 w 6"/>
                  <a:gd name="T1" fmla="*/ 0 h 8"/>
                  <a:gd name="T2" fmla="*/ 0 w 6"/>
                  <a:gd name="T3" fmla="*/ 8 h 8"/>
                  <a:gd name="T4" fmla="*/ 4 w 6"/>
                  <a:gd name="T5" fmla="*/ 8 h 8"/>
                  <a:gd name="T6" fmla="*/ 4 w 6"/>
                  <a:gd name="T7" fmla="*/ 8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lnTo>
                      <a:pt x="0" y="8"/>
                    </a:lnTo>
                    <a:lnTo>
                      <a:pt x="4" y="8"/>
                    </a:lnTo>
                    <a:lnTo>
                      <a:pt x="4"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3" name="Freeform 279"/>
              <p:cNvSpPr/>
              <p:nvPr>
                <p:custDataLst>
                  <p:tags r:id="rId51"/>
                </p:custDataLst>
              </p:nvPr>
            </p:nvSpPr>
            <p:spPr bwMode="auto">
              <a:xfrm>
                <a:off x="3938333" y="3346887"/>
                <a:ext cx="135941" cy="191166"/>
              </a:xfrm>
              <a:custGeom>
                <a:avLst/>
                <a:gdLst>
                  <a:gd name="T0" fmla="*/ 52 w 128"/>
                  <a:gd name="T1" fmla="*/ 0 h 180"/>
                  <a:gd name="T2" fmla="*/ 0 w 128"/>
                  <a:gd name="T3" fmla="*/ 84 h 180"/>
                  <a:gd name="T4" fmla="*/ 0 w 128"/>
                  <a:gd name="T5" fmla="*/ 84 h 180"/>
                  <a:gd name="T6" fmla="*/ 10 w 128"/>
                  <a:gd name="T7" fmla="*/ 102 h 180"/>
                  <a:gd name="T8" fmla="*/ 16 w 128"/>
                  <a:gd name="T9" fmla="*/ 120 h 180"/>
                  <a:gd name="T10" fmla="*/ 18 w 128"/>
                  <a:gd name="T11" fmla="*/ 140 h 180"/>
                  <a:gd name="T12" fmla="*/ 14 w 128"/>
                  <a:gd name="T13" fmla="*/ 162 h 180"/>
                  <a:gd name="T14" fmla="*/ 80 w 128"/>
                  <a:gd name="T15" fmla="*/ 180 h 180"/>
                  <a:gd name="T16" fmla="*/ 126 w 128"/>
                  <a:gd name="T17" fmla="*/ 126 h 180"/>
                  <a:gd name="T18" fmla="*/ 126 w 128"/>
                  <a:gd name="T19" fmla="*/ 126 h 180"/>
                  <a:gd name="T20" fmla="*/ 124 w 128"/>
                  <a:gd name="T21" fmla="*/ 114 h 180"/>
                  <a:gd name="T22" fmla="*/ 124 w 128"/>
                  <a:gd name="T23" fmla="*/ 114 h 180"/>
                  <a:gd name="T24" fmla="*/ 126 w 128"/>
                  <a:gd name="T25" fmla="*/ 124 h 180"/>
                  <a:gd name="T26" fmla="*/ 128 w 128"/>
                  <a:gd name="T27" fmla="*/ 122 h 180"/>
                  <a:gd name="T28" fmla="*/ 128 w 128"/>
                  <a:gd name="T29" fmla="*/ 122 h 180"/>
                  <a:gd name="T30" fmla="*/ 124 w 128"/>
                  <a:gd name="T31" fmla="*/ 98 h 180"/>
                  <a:gd name="T32" fmla="*/ 114 w 128"/>
                  <a:gd name="T33" fmla="*/ 74 h 180"/>
                  <a:gd name="T34" fmla="*/ 114 w 128"/>
                  <a:gd name="T35" fmla="*/ 74 h 180"/>
                  <a:gd name="T36" fmla="*/ 104 w 128"/>
                  <a:gd name="T37" fmla="*/ 54 h 180"/>
                  <a:gd name="T38" fmla="*/ 90 w 128"/>
                  <a:gd name="T39" fmla="*/ 34 h 180"/>
                  <a:gd name="T40" fmla="*/ 72 w 128"/>
                  <a:gd name="T41" fmla="*/ 16 h 180"/>
                  <a:gd name="T42" fmla="*/ 52 w 128"/>
                  <a:gd name="T43"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180">
                    <a:moveTo>
                      <a:pt x="52" y="0"/>
                    </a:moveTo>
                    <a:lnTo>
                      <a:pt x="0" y="84"/>
                    </a:lnTo>
                    <a:lnTo>
                      <a:pt x="0" y="84"/>
                    </a:lnTo>
                    <a:lnTo>
                      <a:pt x="10" y="102"/>
                    </a:lnTo>
                    <a:lnTo>
                      <a:pt x="16" y="120"/>
                    </a:lnTo>
                    <a:lnTo>
                      <a:pt x="18" y="140"/>
                    </a:lnTo>
                    <a:lnTo>
                      <a:pt x="14" y="162"/>
                    </a:lnTo>
                    <a:lnTo>
                      <a:pt x="80" y="180"/>
                    </a:lnTo>
                    <a:lnTo>
                      <a:pt x="126" y="126"/>
                    </a:lnTo>
                    <a:lnTo>
                      <a:pt x="126" y="126"/>
                    </a:lnTo>
                    <a:lnTo>
                      <a:pt x="124" y="114"/>
                    </a:lnTo>
                    <a:lnTo>
                      <a:pt x="124" y="114"/>
                    </a:lnTo>
                    <a:lnTo>
                      <a:pt x="126" y="124"/>
                    </a:lnTo>
                    <a:lnTo>
                      <a:pt x="128" y="122"/>
                    </a:lnTo>
                    <a:lnTo>
                      <a:pt x="128" y="122"/>
                    </a:lnTo>
                    <a:lnTo>
                      <a:pt x="124" y="98"/>
                    </a:lnTo>
                    <a:lnTo>
                      <a:pt x="114" y="74"/>
                    </a:lnTo>
                    <a:lnTo>
                      <a:pt x="114" y="74"/>
                    </a:lnTo>
                    <a:lnTo>
                      <a:pt x="104" y="54"/>
                    </a:lnTo>
                    <a:lnTo>
                      <a:pt x="90" y="34"/>
                    </a:lnTo>
                    <a:lnTo>
                      <a:pt x="72" y="16"/>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4" name="Freeform 283"/>
              <p:cNvSpPr/>
              <p:nvPr>
                <p:custDataLst>
                  <p:tags r:id="rId52"/>
                </p:custDataLst>
              </p:nvPr>
            </p:nvSpPr>
            <p:spPr bwMode="auto">
              <a:xfrm>
                <a:off x="3974443" y="3773827"/>
                <a:ext cx="6372" cy="42481"/>
              </a:xfrm>
              <a:custGeom>
                <a:avLst/>
                <a:gdLst>
                  <a:gd name="T0" fmla="*/ 4 w 6"/>
                  <a:gd name="T1" fmla="*/ 0 h 40"/>
                  <a:gd name="T2" fmla="*/ 4 w 6"/>
                  <a:gd name="T3" fmla="*/ 0 h 40"/>
                  <a:gd name="T4" fmla="*/ 4 w 6"/>
                  <a:gd name="T5" fmla="*/ 0 h 40"/>
                  <a:gd name="T6" fmla="*/ 4 w 6"/>
                  <a:gd name="T7" fmla="*/ 20 h 40"/>
                  <a:gd name="T8" fmla="*/ 0 w 6"/>
                  <a:gd name="T9" fmla="*/ 40 h 40"/>
                  <a:gd name="T10" fmla="*/ 2 w 6"/>
                  <a:gd name="T11" fmla="*/ 40 h 40"/>
                  <a:gd name="T12" fmla="*/ 2 w 6"/>
                  <a:gd name="T13" fmla="*/ 40 h 40"/>
                  <a:gd name="T14" fmla="*/ 6 w 6"/>
                  <a:gd name="T15" fmla="*/ 16 h 40"/>
                  <a:gd name="T16" fmla="*/ 6 w 6"/>
                  <a:gd name="T17" fmla="*/ 16 h 40"/>
                  <a:gd name="T18" fmla="*/ 4 w 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0">
                    <a:moveTo>
                      <a:pt x="4" y="0"/>
                    </a:moveTo>
                    <a:lnTo>
                      <a:pt x="4" y="0"/>
                    </a:lnTo>
                    <a:lnTo>
                      <a:pt x="4" y="0"/>
                    </a:lnTo>
                    <a:lnTo>
                      <a:pt x="4" y="20"/>
                    </a:lnTo>
                    <a:lnTo>
                      <a:pt x="0" y="40"/>
                    </a:lnTo>
                    <a:lnTo>
                      <a:pt x="2" y="40"/>
                    </a:lnTo>
                    <a:lnTo>
                      <a:pt x="2" y="40"/>
                    </a:lnTo>
                    <a:lnTo>
                      <a:pt x="6" y="16"/>
                    </a:lnTo>
                    <a:lnTo>
                      <a:pt x="6" y="1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5" name="Freeform 284"/>
              <p:cNvSpPr/>
              <p:nvPr>
                <p:custDataLst>
                  <p:tags r:id="rId53"/>
                </p:custDataLst>
              </p:nvPr>
            </p:nvSpPr>
            <p:spPr bwMode="auto">
              <a:xfrm>
                <a:off x="4070026" y="3478581"/>
                <a:ext cx="6372" cy="61598"/>
              </a:xfrm>
              <a:custGeom>
                <a:avLst/>
                <a:gdLst>
                  <a:gd name="T0" fmla="*/ 2 w 6"/>
                  <a:gd name="T1" fmla="*/ 0 h 58"/>
                  <a:gd name="T2" fmla="*/ 2 w 6"/>
                  <a:gd name="T3" fmla="*/ 2 h 58"/>
                  <a:gd name="T4" fmla="*/ 2 w 6"/>
                  <a:gd name="T5" fmla="*/ 2 h 58"/>
                  <a:gd name="T6" fmla="*/ 2 w 6"/>
                  <a:gd name="T7" fmla="*/ 30 h 58"/>
                  <a:gd name="T8" fmla="*/ 0 w 6"/>
                  <a:gd name="T9" fmla="*/ 58 h 58"/>
                  <a:gd name="T10" fmla="*/ 2 w 6"/>
                  <a:gd name="T11" fmla="*/ 56 h 58"/>
                  <a:gd name="T12" fmla="*/ 2 w 6"/>
                  <a:gd name="T13" fmla="*/ 56 h 58"/>
                  <a:gd name="T14" fmla="*/ 6 w 6"/>
                  <a:gd name="T15" fmla="*/ 24 h 58"/>
                  <a:gd name="T16" fmla="*/ 6 w 6"/>
                  <a:gd name="T17" fmla="*/ 24 h 58"/>
                  <a:gd name="T18" fmla="*/ 2 w 6"/>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8">
                    <a:moveTo>
                      <a:pt x="2" y="0"/>
                    </a:moveTo>
                    <a:lnTo>
                      <a:pt x="2" y="2"/>
                    </a:lnTo>
                    <a:lnTo>
                      <a:pt x="2" y="2"/>
                    </a:lnTo>
                    <a:lnTo>
                      <a:pt x="2" y="30"/>
                    </a:lnTo>
                    <a:lnTo>
                      <a:pt x="0" y="58"/>
                    </a:lnTo>
                    <a:lnTo>
                      <a:pt x="2" y="56"/>
                    </a:lnTo>
                    <a:lnTo>
                      <a:pt x="2" y="56"/>
                    </a:lnTo>
                    <a:lnTo>
                      <a:pt x="6" y="24"/>
                    </a:lnTo>
                    <a:lnTo>
                      <a:pt x="6" y="2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6" name="Freeform 285"/>
              <p:cNvSpPr/>
              <p:nvPr>
                <p:custDataLst>
                  <p:tags r:id="rId54"/>
                </p:custDataLst>
              </p:nvPr>
            </p:nvSpPr>
            <p:spPr bwMode="auto">
              <a:xfrm>
                <a:off x="3904349" y="3431850"/>
                <a:ext cx="25489" cy="57350"/>
              </a:xfrm>
              <a:custGeom>
                <a:avLst/>
                <a:gdLst>
                  <a:gd name="T0" fmla="*/ 22 w 24"/>
                  <a:gd name="T1" fmla="*/ 0 h 54"/>
                  <a:gd name="T2" fmla="*/ 0 w 24"/>
                  <a:gd name="T3" fmla="*/ 54 h 54"/>
                  <a:gd name="T4" fmla="*/ 2 w 24"/>
                  <a:gd name="T5" fmla="*/ 50 h 54"/>
                  <a:gd name="T6" fmla="*/ 24 w 24"/>
                  <a:gd name="T7" fmla="*/ 0 h 54"/>
                  <a:gd name="T8" fmla="*/ 24 w 24"/>
                  <a:gd name="T9" fmla="*/ 0 h 54"/>
                  <a:gd name="T10" fmla="*/ 22 w 24"/>
                  <a:gd name="T11" fmla="*/ 0 h 54"/>
                </a:gdLst>
                <a:ahLst/>
                <a:cxnLst>
                  <a:cxn ang="0">
                    <a:pos x="T0" y="T1"/>
                  </a:cxn>
                  <a:cxn ang="0">
                    <a:pos x="T2" y="T3"/>
                  </a:cxn>
                  <a:cxn ang="0">
                    <a:pos x="T4" y="T5"/>
                  </a:cxn>
                  <a:cxn ang="0">
                    <a:pos x="T6" y="T7"/>
                  </a:cxn>
                  <a:cxn ang="0">
                    <a:pos x="T8" y="T9"/>
                  </a:cxn>
                  <a:cxn ang="0">
                    <a:pos x="T10" y="T11"/>
                  </a:cxn>
                </a:cxnLst>
                <a:rect l="0" t="0" r="r" b="b"/>
                <a:pathLst>
                  <a:path w="24" h="54">
                    <a:moveTo>
                      <a:pt x="22" y="0"/>
                    </a:moveTo>
                    <a:lnTo>
                      <a:pt x="0" y="54"/>
                    </a:lnTo>
                    <a:lnTo>
                      <a:pt x="2" y="50"/>
                    </a:lnTo>
                    <a:lnTo>
                      <a:pt x="24" y="0"/>
                    </a:lnTo>
                    <a:lnTo>
                      <a:pt x="2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7" name="Freeform 286"/>
              <p:cNvSpPr/>
              <p:nvPr>
                <p:custDataLst>
                  <p:tags r:id="rId55"/>
                </p:custDataLst>
              </p:nvPr>
            </p:nvSpPr>
            <p:spPr bwMode="auto">
              <a:xfrm>
                <a:off x="3968071" y="3304406"/>
                <a:ext cx="12744" cy="36109"/>
              </a:xfrm>
              <a:custGeom>
                <a:avLst/>
                <a:gdLst>
                  <a:gd name="T0" fmla="*/ 12 w 12"/>
                  <a:gd name="T1" fmla="*/ 0 h 34"/>
                  <a:gd name="T2" fmla="*/ 0 w 12"/>
                  <a:gd name="T3" fmla="*/ 30 h 34"/>
                  <a:gd name="T4" fmla="*/ 0 w 12"/>
                  <a:gd name="T5" fmla="*/ 30 h 34"/>
                  <a:gd name="T6" fmla="*/ 6 w 12"/>
                  <a:gd name="T7" fmla="*/ 34 h 34"/>
                  <a:gd name="T8" fmla="*/ 8 w 12"/>
                  <a:gd name="T9" fmla="*/ 30 h 34"/>
                  <a:gd name="T10" fmla="*/ 8 w 12"/>
                  <a:gd name="T11" fmla="*/ 30 h 34"/>
                  <a:gd name="T12" fmla="*/ 2 w 12"/>
                  <a:gd name="T13" fmla="*/ 26 h 34"/>
                  <a:gd name="T14" fmla="*/ 12 w 12"/>
                  <a:gd name="T15" fmla="*/ 0 h 34"/>
                  <a:gd name="T16" fmla="*/ 12 w 12"/>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4">
                    <a:moveTo>
                      <a:pt x="12" y="0"/>
                    </a:moveTo>
                    <a:lnTo>
                      <a:pt x="0" y="30"/>
                    </a:lnTo>
                    <a:lnTo>
                      <a:pt x="0" y="30"/>
                    </a:lnTo>
                    <a:lnTo>
                      <a:pt x="6" y="34"/>
                    </a:lnTo>
                    <a:lnTo>
                      <a:pt x="8" y="30"/>
                    </a:lnTo>
                    <a:lnTo>
                      <a:pt x="8" y="30"/>
                    </a:lnTo>
                    <a:lnTo>
                      <a:pt x="2" y="26"/>
                    </a:lnTo>
                    <a:lnTo>
                      <a:pt x="12" y="0"/>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8" name="Freeform 287"/>
              <p:cNvSpPr/>
              <p:nvPr>
                <p:custDataLst>
                  <p:tags r:id="rId56"/>
                </p:custDataLst>
              </p:nvPr>
            </p:nvSpPr>
            <p:spPr bwMode="auto">
              <a:xfrm>
                <a:off x="3972319" y="3816307"/>
                <a:ext cx="4248" cy="8497"/>
              </a:xfrm>
              <a:custGeom>
                <a:avLst/>
                <a:gdLst>
                  <a:gd name="T0" fmla="*/ 2 w 4"/>
                  <a:gd name="T1" fmla="*/ 0 h 8"/>
                  <a:gd name="T2" fmla="*/ 2 w 4"/>
                  <a:gd name="T3" fmla="*/ 0 h 8"/>
                  <a:gd name="T4" fmla="*/ 0 w 4"/>
                  <a:gd name="T5" fmla="*/ 8 h 8"/>
                  <a:gd name="T6" fmla="*/ 2 w 4"/>
                  <a:gd name="T7" fmla="*/ 8 h 8"/>
                  <a:gd name="T8" fmla="*/ 2 w 4"/>
                  <a:gd name="T9" fmla="*/ 8 h 8"/>
                  <a:gd name="T10" fmla="*/ 4 w 4"/>
                  <a:gd name="T11" fmla="*/ 0 h 8"/>
                  <a:gd name="T12" fmla="*/ 2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0"/>
                    </a:moveTo>
                    <a:lnTo>
                      <a:pt x="2" y="0"/>
                    </a:lnTo>
                    <a:lnTo>
                      <a:pt x="0" y="8"/>
                    </a:lnTo>
                    <a:lnTo>
                      <a:pt x="2" y="8"/>
                    </a:lnTo>
                    <a:lnTo>
                      <a:pt x="2" y="8"/>
                    </a:lnTo>
                    <a:lnTo>
                      <a:pt x="4"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9" name="Freeform 288"/>
              <p:cNvSpPr/>
              <p:nvPr>
                <p:custDataLst>
                  <p:tags r:id="rId57"/>
                </p:custDataLst>
              </p:nvPr>
            </p:nvSpPr>
            <p:spPr bwMode="auto">
              <a:xfrm>
                <a:off x="3972319" y="3816307"/>
                <a:ext cx="4248" cy="8497"/>
              </a:xfrm>
              <a:custGeom>
                <a:avLst/>
                <a:gdLst>
                  <a:gd name="T0" fmla="*/ 2 w 4"/>
                  <a:gd name="T1" fmla="*/ 0 h 8"/>
                  <a:gd name="T2" fmla="*/ 2 w 4"/>
                  <a:gd name="T3" fmla="*/ 0 h 8"/>
                  <a:gd name="T4" fmla="*/ 0 w 4"/>
                  <a:gd name="T5" fmla="*/ 8 h 8"/>
                  <a:gd name="T6" fmla="*/ 2 w 4"/>
                  <a:gd name="T7" fmla="*/ 8 h 8"/>
                  <a:gd name="T8" fmla="*/ 2 w 4"/>
                  <a:gd name="T9" fmla="*/ 8 h 8"/>
                  <a:gd name="T10" fmla="*/ 4 w 4"/>
                  <a:gd name="T11" fmla="*/ 0 h 8"/>
                  <a:gd name="T12" fmla="*/ 2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0"/>
                    </a:moveTo>
                    <a:lnTo>
                      <a:pt x="2" y="0"/>
                    </a:lnTo>
                    <a:lnTo>
                      <a:pt x="0" y="8"/>
                    </a:lnTo>
                    <a:lnTo>
                      <a:pt x="2" y="8"/>
                    </a:lnTo>
                    <a:lnTo>
                      <a:pt x="2" y="8"/>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0" name="Freeform 289"/>
              <p:cNvSpPr/>
              <p:nvPr>
                <p:custDataLst>
                  <p:tags r:id="rId58"/>
                </p:custDataLst>
              </p:nvPr>
            </p:nvSpPr>
            <p:spPr bwMode="auto">
              <a:xfrm>
                <a:off x="3738672" y="3858788"/>
                <a:ext cx="14869" cy="33985"/>
              </a:xfrm>
              <a:custGeom>
                <a:avLst/>
                <a:gdLst>
                  <a:gd name="T0" fmla="*/ 14 w 14"/>
                  <a:gd name="T1" fmla="*/ 0 h 32"/>
                  <a:gd name="T2" fmla="*/ 12 w 14"/>
                  <a:gd name="T3" fmla="*/ 4 h 32"/>
                  <a:gd name="T4" fmla="*/ 0 w 14"/>
                  <a:gd name="T5" fmla="*/ 30 h 32"/>
                  <a:gd name="T6" fmla="*/ 0 w 14"/>
                  <a:gd name="T7" fmla="*/ 30 h 32"/>
                  <a:gd name="T8" fmla="*/ 8 w 14"/>
                  <a:gd name="T9" fmla="*/ 32 h 32"/>
                  <a:gd name="T10" fmla="*/ 10 w 14"/>
                  <a:gd name="T11" fmla="*/ 28 h 32"/>
                  <a:gd name="T12" fmla="*/ 10 w 14"/>
                  <a:gd name="T13" fmla="*/ 28 h 32"/>
                  <a:gd name="T14" fmla="*/ 4 w 14"/>
                  <a:gd name="T15" fmla="*/ 28 h 32"/>
                  <a:gd name="T16" fmla="*/ 14 w 14"/>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2">
                    <a:moveTo>
                      <a:pt x="14" y="0"/>
                    </a:moveTo>
                    <a:lnTo>
                      <a:pt x="12" y="4"/>
                    </a:lnTo>
                    <a:lnTo>
                      <a:pt x="0" y="30"/>
                    </a:lnTo>
                    <a:lnTo>
                      <a:pt x="0" y="30"/>
                    </a:lnTo>
                    <a:lnTo>
                      <a:pt x="8" y="32"/>
                    </a:lnTo>
                    <a:lnTo>
                      <a:pt x="10" y="28"/>
                    </a:lnTo>
                    <a:lnTo>
                      <a:pt x="10" y="28"/>
                    </a:lnTo>
                    <a:lnTo>
                      <a:pt x="4" y="28"/>
                    </a:lnTo>
                    <a:lnTo>
                      <a:pt x="14" y="0"/>
                    </a:lnTo>
                    <a:close/>
                  </a:path>
                </a:pathLst>
              </a:custGeom>
              <a:solidFill>
                <a:srgbClr val="FFFF02"/>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1" name="Freeform 290"/>
              <p:cNvSpPr/>
              <p:nvPr>
                <p:custDataLst>
                  <p:tags r:id="rId59"/>
                </p:custDataLst>
              </p:nvPr>
            </p:nvSpPr>
            <p:spPr bwMode="auto">
              <a:xfrm>
                <a:off x="3738672" y="3858788"/>
                <a:ext cx="14869" cy="33985"/>
              </a:xfrm>
              <a:custGeom>
                <a:avLst/>
                <a:gdLst>
                  <a:gd name="T0" fmla="*/ 14 w 14"/>
                  <a:gd name="T1" fmla="*/ 0 h 32"/>
                  <a:gd name="T2" fmla="*/ 12 w 14"/>
                  <a:gd name="T3" fmla="*/ 4 h 32"/>
                  <a:gd name="T4" fmla="*/ 0 w 14"/>
                  <a:gd name="T5" fmla="*/ 30 h 32"/>
                  <a:gd name="T6" fmla="*/ 0 w 14"/>
                  <a:gd name="T7" fmla="*/ 30 h 32"/>
                  <a:gd name="T8" fmla="*/ 8 w 14"/>
                  <a:gd name="T9" fmla="*/ 32 h 32"/>
                  <a:gd name="T10" fmla="*/ 10 w 14"/>
                  <a:gd name="T11" fmla="*/ 28 h 32"/>
                  <a:gd name="T12" fmla="*/ 10 w 14"/>
                  <a:gd name="T13" fmla="*/ 28 h 32"/>
                  <a:gd name="T14" fmla="*/ 4 w 14"/>
                  <a:gd name="T15" fmla="*/ 28 h 32"/>
                  <a:gd name="T16" fmla="*/ 14 w 14"/>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2">
                    <a:moveTo>
                      <a:pt x="14" y="0"/>
                    </a:moveTo>
                    <a:lnTo>
                      <a:pt x="12" y="4"/>
                    </a:lnTo>
                    <a:lnTo>
                      <a:pt x="0" y="30"/>
                    </a:lnTo>
                    <a:lnTo>
                      <a:pt x="0" y="30"/>
                    </a:lnTo>
                    <a:lnTo>
                      <a:pt x="8" y="32"/>
                    </a:lnTo>
                    <a:lnTo>
                      <a:pt x="10" y="28"/>
                    </a:lnTo>
                    <a:lnTo>
                      <a:pt x="10" y="28"/>
                    </a:lnTo>
                    <a:lnTo>
                      <a:pt x="4" y="2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2" name="Freeform 292"/>
              <p:cNvSpPr/>
              <p:nvPr>
                <p:custDataLst>
                  <p:tags r:id="rId60"/>
                </p:custDataLst>
              </p:nvPr>
            </p:nvSpPr>
            <p:spPr bwMode="auto">
              <a:xfrm>
                <a:off x="3668577" y="3986232"/>
                <a:ext cx="31861" cy="78591"/>
              </a:xfrm>
              <a:custGeom>
                <a:avLst/>
                <a:gdLst>
                  <a:gd name="T0" fmla="*/ 30 w 30"/>
                  <a:gd name="T1" fmla="*/ 0 h 74"/>
                  <a:gd name="T2" fmla="*/ 0 w 30"/>
                  <a:gd name="T3" fmla="*/ 74 h 74"/>
                  <a:gd name="T4" fmla="*/ 0 w 30"/>
                  <a:gd name="T5" fmla="*/ 74 h 74"/>
                  <a:gd name="T6" fmla="*/ 30 w 30"/>
                  <a:gd name="T7" fmla="*/ 2 h 74"/>
                  <a:gd name="T8" fmla="*/ 30 w 30"/>
                  <a:gd name="T9" fmla="*/ 2 h 74"/>
                  <a:gd name="T10" fmla="*/ 30 w 30"/>
                  <a:gd name="T11" fmla="*/ 0 h 74"/>
                </a:gdLst>
                <a:ahLst/>
                <a:cxnLst>
                  <a:cxn ang="0">
                    <a:pos x="T0" y="T1"/>
                  </a:cxn>
                  <a:cxn ang="0">
                    <a:pos x="T2" y="T3"/>
                  </a:cxn>
                  <a:cxn ang="0">
                    <a:pos x="T4" y="T5"/>
                  </a:cxn>
                  <a:cxn ang="0">
                    <a:pos x="T6" y="T7"/>
                  </a:cxn>
                  <a:cxn ang="0">
                    <a:pos x="T8" y="T9"/>
                  </a:cxn>
                  <a:cxn ang="0">
                    <a:pos x="T10" y="T11"/>
                  </a:cxn>
                </a:cxnLst>
                <a:rect l="0" t="0" r="r" b="b"/>
                <a:pathLst>
                  <a:path w="30" h="74">
                    <a:moveTo>
                      <a:pt x="30" y="0"/>
                    </a:moveTo>
                    <a:lnTo>
                      <a:pt x="0" y="74"/>
                    </a:lnTo>
                    <a:lnTo>
                      <a:pt x="0" y="74"/>
                    </a:lnTo>
                    <a:lnTo>
                      <a:pt x="30" y="2"/>
                    </a:lnTo>
                    <a:lnTo>
                      <a:pt x="30" y="2"/>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3" name="Freeform 293"/>
              <p:cNvSpPr/>
              <p:nvPr>
                <p:custDataLst>
                  <p:tags r:id="rId61"/>
                </p:custDataLst>
              </p:nvPr>
            </p:nvSpPr>
            <p:spPr bwMode="auto">
              <a:xfrm>
                <a:off x="3976566" y="3763205"/>
                <a:ext cx="2124" cy="10620"/>
              </a:xfrm>
              <a:custGeom>
                <a:avLst/>
                <a:gdLst>
                  <a:gd name="T0" fmla="*/ 0 w 2"/>
                  <a:gd name="T1" fmla="*/ 0 h 10"/>
                  <a:gd name="T2" fmla="*/ 0 w 2"/>
                  <a:gd name="T3" fmla="*/ 0 h 10"/>
                  <a:gd name="T4" fmla="*/ 2 w 2"/>
                  <a:gd name="T5" fmla="*/ 10 h 10"/>
                  <a:gd name="T6" fmla="*/ 2 w 2"/>
                  <a:gd name="T7" fmla="*/ 10 h 10"/>
                  <a:gd name="T8" fmla="*/ 2 w 2"/>
                  <a:gd name="T9" fmla="*/ 10 h 10"/>
                  <a:gd name="T10" fmla="*/ 0 w 2"/>
                  <a:gd name="T11" fmla="*/ 0 h 10"/>
                </a:gdLst>
                <a:ahLst/>
                <a:cxnLst>
                  <a:cxn ang="0">
                    <a:pos x="T0" y="T1"/>
                  </a:cxn>
                  <a:cxn ang="0">
                    <a:pos x="T2" y="T3"/>
                  </a:cxn>
                  <a:cxn ang="0">
                    <a:pos x="T4" y="T5"/>
                  </a:cxn>
                  <a:cxn ang="0">
                    <a:pos x="T6" y="T7"/>
                  </a:cxn>
                  <a:cxn ang="0">
                    <a:pos x="T8" y="T9"/>
                  </a:cxn>
                  <a:cxn ang="0">
                    <a:pos x="T10" y="T11"/>
                  </a:cxn>
                </a:cxnLst>
                <a:rect l="0" t="0" r="r" b="b"/>
                <a:pathLst>
                  <a:path w="2" h="10">
                    <a:moveTo>
                      <a:pt x="0" y="0"/>
                    </a:moveTo>
                    <a:lnTo>
                      <a:pt x="0" y="0"/>
                    </a:lnTo>
                    <a:lnTo>
                      <a:pt x="2" y="10"/>
                    </a:lnTo>
                    <a:lnTo>
                      <a:pt x="2" y="10"/>
                    </a:lnTo>
                    <a:lnTo>
                      <a:pt x="2" y="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4" name="Freeform 294"/>
              <p:cNvSpPr/>
              <p:nvPr>
                <p:custDataLst>
                  <p:tags r:id="rId62"/>
                </p:custDataLst>
              </p:nvPr>
            </p:nvSpPr>
            <p:spPr bwMode="auto">
              <a:xfrm>
                <a:off x="3647336" y="3748335"/>
                <a:ext cx="4248" cy="53102"/>
              </a:xfrm>
              <a:custGeom>
                <a:avLst/>
                <a:gdLst>
                  <a:gd name="T0" fmla="*/ 2 w 4"/>
                  <a:gd name="T1" fmla="*/ 0 h 50"/>
                  <a:gd name="T2" fmla="*/ 2 w 4"/>
                  <a:gd name="T3" fmla="*/ 0 h 50"/>
                  <a:gd name="T4" fmla="*/ 0 w 4"/>
                  <a:gd name="T5" fmla="*/ 26 h 50"/>
                  <a:gd name="T6" fmla="*/ 2 w 4"/>
                  <a:gd name="T7" fmla="*/ 38 h 50"/>
                  <a:gd name="T8" fmla="*/ 4 w 4"/>
                  <a:gd name="T9" fmla="*/ 50 h 50"/>
                  <a:gd name="T10" fmla="*/ 4 w 4"/>
                  <a:gd name="T11" fmla="*/ 50 h 50"/>
                  <a:gd name="T12" fmla="*/ 2 w 4"/>
                  <a:gd name="T13" fmla="*/ 26 h 50"/>
                  <a:gd name="T14" fmla="*/ 2 w 4"/>
                  <a:gd name="T15" fmla="*/ 26 h 50"/>
                  <a:gd name="T16" fmla="*/ 2 w 4"/>
                  <a:gd name="T17" fmla="*/ 14 h 50"/>
                  <a:gd name="T18" fmla="*/ 2 w 4"/>
                  <a:gd name="T19" fmla="*/ 0 h 50"/>
                  <a:gd name="T20" fmla="*/ 2 w 4"/>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0">
                    <a:moveTo>
                      <a:pt x="2" y="0"/>
                    </a:moveTo>
                    <a:lnTo>
                      <a:pt x="2" y="0"/>
                    </a:lnTo>
                    <a:lnTo>
                      <a:pt x="0" y="26"/>
                    </a:lnTo>
                    <a:lnTo>
                      <a:pt x="2" y="38"/>
                    </a:lnTo>
                    <a:lnTo>
                      <a:pt x="4" y="50"/>
                    </a:lnTo>
                    <a:lnTo>
                      <a:pt x="4" y="50"/>
                    </a:lnTo>
                    <a:lnTo>
                      <a:pt x="2" y="26"/>
                    </a:lnTo>
                    <a:lnTo>
                      <a:pt x="2" y="26"/>
                    </a:lnTo>
                    <a:lnTo>
                      <a:pt x="2" y="14"/>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5" name="Freeform 295"/>
              <p:cNvSpPr/>
              <p:nvPr>
                <p:custDataLst>
                  <p:tags r:id="rId63"/>
                </p:custDataLst>
              </p:nvPr>
            </p:nvSpPr>
            <p:spPr bwMode="auto">
              <a:xfrm>
                <a:off x="3751416" y="3722847"/>
                <a:ext cx="57350" cy="140188"/>
              </a:xfrm>
              <a:custGeom>
                <a:avLst/>
                <a:gdLst>
                  <a:gd name="T0" fmla="*/ 54 w 54"/>
                  <a:gd name="T1" fmla="*/ 0 h 132"/>
                  <a:gd name="T2" fmla="*/ 0 w 54"/>
                  <a:gd name="T3" fmla="*/ 132 h 132"/>
                  <a:gd name="T4" fmla="*/ 2 w 54"/>
                  <a:gd name="T5" fmla="*/ 128 h 132"/>
                  <a:gd name="T6" fmla="*/ 54 w 54"/>
                  <a:gd name="T7" fmla="*/ 0 h 132"/>
                  <a:gd name="T8" fmla="*/ 54 w 54"/>
                  <a:gd name="T9" fmla="*/ 0 h 132"/>
                  <a:gd name="T10" fmla="*/ 54 w 54"/>
                  <a:gd name="T11" fmla="*/ 0 h 132"/>
                </a:gdLst>
                <a:ahLst/>
                <a:cxnLst>
                  <a:cxn ang="0">
                    <a:pos x="T0" y="T1"/>
                  </a:cxn>
                  <a:cxn ang="0">
                    <a:pos x="T2" y="T3"/>
                  </a:cxn>
                  <a:cxn ang="0">
                    <a:pos x="T4" y="T5"/>
                  </a:cxn>
                  <a:cxn ang="0">
                    <a:pos x="T6" y="T7"/>
                  </a:cxn>
                  <a:cxn ang="0">
                    <a:pos x="T8" y="T9"/>
                  </a:cxn>
                  <a:cxn ang="0">
                    <a:pos x="T10" y="T11"/>
                  </a:cxn>
                </a:cxnLst>
                <a:rect l="0" t="0" r="r" b="b"/>
                <a:pathLst>
                  <a:path w="54" h="132">
                    <a:moveTo>
                      <a:pt x="54" y="0"/>
                    </a:moveTo>
                    <a:lnTo>
                      <a:pt x="0" y="132"/>
                    </a:lnTo>
                    <a:lnTo>
                      <a:pt x="2" y="128"/>
                    </a:lnTo>
                    <a:lnTo>
                      <a:pt x="54" y="0"/>
                    </a:lnTo>
                    <a:lnTo>
                      <a:pt x="54"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6" name="Freeform 296"/>
              <p:cNvSpPr/>
              <p:nvPr>
                <p:custDataLst>
                  <p:tags r:id="rId64"/>
                </p:custDataLst>
              </p:nvPr>
            </p:nvSpPr>
            <p:spPr bwMode="auto">
              <a:xfrm>
                <a:off x="4067902" y="3538053"/>
                <a:ext cx="4248" cy="12744"/>
              </a:xfrm>
              <a:custGeom>
                <a:avLst/>
                <a:gdLst>
                  <a:gd name="T0" fmla="*/ 4 w 4"/>
                  <a:gd name="T1" fmla="*/ 0 h 12"/>
                  <a:gd name="T2" fmla="*/ 2 w 4"/>
                  <a:gd name="T3" fmla="*/ 2 h 12"/>
                  <a:gd name="T4" fmla="*/ 2 w 4"/>
                  <a:gd name="T5" fmla="*/ 2 h 12"/>
                  <a:gd name="T6" fmla="*/ 0 w 4"/>
                  <a:gd name="T7" fmla="*/ 10 h 12"/>
                  <a:gd name="T8" fmla="*/ 2 w 4"/>
                  <a:gd name="T9" fmla="*/ 12 h 12"/>
                  <a:gd name="T10" fmla="*/ 2 w 4"/>
                  <a:gd name="T11" fmla="*/ 12 h 12"/>
                  <a:gd name="T12" fmla="*/ 4 w 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4" y="0"/>
                    </a:moveTo>
                    <a:lnTo>
                      <a:pt x="2" y="2"/>
                    </a:lnTo>
                    <a:lnTo>
                      <a:pt x="2" y="2"/>
                    </a:lnTo>
                    <a:lnTo>
                      <a:pt x="0" y="10"/>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7" name="Freeform 297"/>
              <p:cNvSpPr/>
              <p:nvPr>
                <p:custDataLst>
                  <p:tags r:id="rId65"/>
                </p:custDataLst>
              </p:nvPr>
            </p:nvSpPr>
            <p:spPr bwMode="auto">
              <a:xfrm>
                <a:off x="3859743" y="3484952"/>
                <a:ext cx="46730" cy="121072"/>
              </a:xfrm>
              <a:custGeom>
                <a:avLst/>
                <a:gdLst>
                  <a:gd name="T0" fmla="*/ 44 w 44"/>
                  <a:gd name="T1" fmla="*/ 0 h 114"/>
                  <a:gd name="T2" fmla="*/ 42 w 44"/>
                  <a:gd name="T3" fmla="*/ 4 h 114"/>
                  <a:gd name="T4" fmla="*/ 0 w 44"/>
                  <a:gd name="T5" fmla="*/ 110 h 114"/>
                  <a:gd name="T6" fmla="*/ 0 w 44"/>
                  <a:gd name="T7" fmla="*/ 110 h 114"/>
                  <a:gd name="T8" fmla="*/ 4 w 44"/>
                  <a:gd name="T9" fmla="*/ 114 h 114"/>
                  <a:gd name="T10" fmla="*/ 6 w 44"/>
                  <a:gd name="T11" fmla="*/ 110 h 114"/>
                  <a:gd name="T12" fmla="*/ 6 w 44"/>
                  <a:gd name="T13" fmla="*/ 110 h 114"/>
                  <a:gd name="T14" fmla="*/ 2 w 44"/>
                  <a:gd name="T15" fmla="*/ 106 h 114"/>
                  <a:gd name="T16" fmla="*/ 44 w 44"/>
                  <a:gd name="T1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14">
                    <a:moveTo>
                      <a:pt x="44" y="0"/>
                    </a:moveTo>
                    <a:lnTo>
                      <a:pt x="42" y="4"/>
                    </a:lnTo>
                    <a:lnTo>
                      <a:pt x="0" y="110"/>
                    </a:lnTo>
                    <a:lnTo>
                      <a:pt x="0" y="110"/>
                    </a:lnTo>
                    <a:lnTo>
                      <a:pt x="4" y="114"/>
                    </a:lnTo>
                    <a:lnTo>
                      <a:pt x="6" y="110"/>
                    </a:lnTo>
                    <a:lnTo>
                      <a:pt x="6" y="110"/>
                    </a:lnTo>
                    <a:lnTo>
                      <a:pt x="2" y="106"/>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8" name="Freeform 298"/>
              <p:cNvSpPr/>
              <p:nvPr>
                <p:custDataLst>
                  <p:tags r:id="rId66"/>
                </p:custDataLst>
              </p:nvPr>
            </p:nvSpPr>
            <p:spPr bwMode="auto">
              <a:xfrm>
                <a:off x="4070026" y="3467958"/>
                <a:ext cx="2124" cy="12744"/>
              </a:xfrm>
              <a:custGeom>
                <a:avLst/>
                <a:gdLst>
                  <a:gd name="T0" fmla="*/ 0 w 2"/>
                  <a:gd name="T1" fmla="*/ 0 h 12"/>
                  <a:gd name="T2" fmla="*/ 0 w 2"/>
                  <a:gd name="T3" fmla="*/ 0 h 12"/>
                  <a:gd name="T4" fmla="*/ 2 w 2"/>
                  <a:gd name="T5" fmla="*/ 12 h 12"/>
                  <a:gd name="T6" fmla="*/ 2 w 2"/>
                  <a:gd name="T7" fmla="*/ 10 h 12"/>
                  <a:gd name="T8" fmla="*/ 2 w 2"/>
                  <a:gd name="T9" fmla="*/ 10 h 12"/>
                  <a:gd name="T10" fmla="*/ 0 w 2"/>
                  <a:gd name="T11" fmla="*/ 0 h 12"/>
                </a:gdLst>
                <a:ahLst/>
                <a:cxnLst>
                  <a:cxn ang="0">
                    <a:pos x="T0" y="T1"/>
                  </a:cxn>
                  <a:cxn ang="0">
                    <a:pos x="T2" y="T3"/>
                  </a:cxn>
                  <a:cxn ang="0">
                    <a:pos x="T4" y="T5"/>
                  </a:cxn>
                  <a:cxn ang="0">
                    <a:pos x="T6" y="T7"/>
                  </a:cxn>
                  <a:cxn ang="0">
                    <a:pos x="T8" y="T9"/>
                  </a:cxn>
                  <a:cxn ang="0">
                    <a:pos x="T10" y="T11"/>
                  </a:cxn>
                </a:cxnLst>
                <a:rect l="0" t="0" r="r" b="b"/>
                <a:pathLst>
                  <a:path w="2" h="12">
                    <a:moveTo>
                      <a:pt x="0" y="0"/>
                    </a:moveTo>
                    <a:lnTo>
                      <a:pt x="0" y="0"/>
                    </a:lnTo>
                    <a:lnTo>
                      <a:pt x="2" y="12"/>
                    </a:lnTo>
                    <a:lnTo>
                      <a:pt x="2" y="10"/>
                    </a:lnTo>
                    <a:lnTo>
                      <a:pt x="2" y="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9" name="Freeform 36"/>
              <p:cNvSpPr/>
              <p:nvPr/>
            </p:nvSpPr>
            <p:spPr bwMode="auto">
              <a:xfrm rot="1581058">
                <a:off x="3588374" y="3278650"/>
                <a:ext cx="385935" cy="732187"/>
              </a:xfrm>
              <a:custGeom>
                <a:avLst/>
                <a:gdLst>
                  <a:gd name="T0" fmla="*/ 668 w 1206"/>
                  <a:gd name="T1" fmla="*/ 650 h 2288"/>
                  <a:gd name="T2" fmla="*/ 656 w 1206"/>
                  <a:gd name="T3" fmla="*/ 494 h 2288"/>
                  <a:gd name="T4" fmla="*/ 640 w 1206"/>
                  <a:gd name="T5" fmla="*/ 466 h 2288"/>
                  <a:gd name="T6" fmla="*/ 606 w 1206"/>
                  <a:gd name="T7" fmla="*/ 446 h 2288"/>
                  <a:gd name="T8" fmla="*/ 560 w 1206"/>
                  <a:gd name="T9" fmla="*/ 446 h 2288"/>
                  <a:gd name="T10" fmla="*/ 526 w 1206"/>
                  <a:gd name="T11" fmla="*/ 462 h 2288"/>
                  <a:gd name="T12" fmla="*/ 504 w 1206"/>
                  <a:gd name="T13" fmla="*/ 496 h 2288"/>
                  <a:gd name="T14" fmla="*/ 492 w 1206"/>
                  <a:gd name="T15" fmla="*/ 580 h 2288"/>
                  <a:gd name="T16" fmla="*/ 504 w 1206"/>
                  <a:gd name="T17" fmla="*/ 676 h 2288"/>
                  <a:gd name="T18" fmla="*/ 538 w 1206"/>
                  <a:gd name="T19" fmla="*/ 738 h 2288"/>
                  <a:gd name="T20" fmla="*/ 624 w 1206"/>
                  <a:gd name="T21" fmla="*/ 804 h 2288"/>
                  <a:gd name="T22" fmla="*/ 882 w 1206"/>
                  <a:gd name="T23" fmla="*/ 966 h 2288"/>
                  <a:gd name="T24" fmla="*/ 1048 w 1206"/>
                  <a:gd name="T25" fmla="*/ 1084 h 2288"/>
                  <a:gd name="T26" fmla="*/ 1110 w 1206"/>
                  <a:gd name="T27" fmla="*/ 1156 h 2288"/>
                  <a:gd name="T28" fmla="*/ 1160 w 1206"/>
                  <a:gd name="T29" fmla="*/ 1252 h 2288"/>
                  <a:gd name="T30" fmla="*/ 1188 w 1206"/>
                  <a:gd name="T31" fmla="*/ 1340 h 2288"/>
                  <a:gd name="T32" fmla="*/ 1206 w 1206"/>
                  <a:gd name="T33" fmla="*/ 1480 h 2288"/>
                  <a:gd name="T34" fmla="*/ 1198 w 1206"/>
                  <a:gd name="T35" fmla="*/ 1642 h 2288"/>
                  <a:gd name="T36" fmla="*/ 1158 w 1206"/>
                  <a:gd name="T37" fmla="*/ 1798 h 2288"/>
                  <a:gd name="T38" fmla="*/ 1112 w 1206"/>
                  <a:gd name="T39" fmla="*/ 1886 h 2288"/>
                  <a:gd name="T40" fmla="*/ 1066 w 1206"/>
                  <a:gd name="T41" fmla="*/ 1942 h 2288"/>
                  <a:gd name="T42" fmla="*/ 992 w 1206"/>
                  <a:gd name="T43" fmla="*/ 2006 h 2288"/>
                  <a:gd name="T44" fmla="*/ 878 w 1206"/>
                  <a:gd name="T45" fmla="*/ 2064 h 2288"/>
                  <a:gd name="T46" fmla="*/ 710 w 1206"/>
                  <a:gd name="T47" fmla="*/ 2288 h 2288"/>
                  <a:gd name="T48" fmla="*/ 440 w 1206"/>
                  <a:gd name="T49" fmla="*/ 2094 h 2288"/>
                  <a:gd name="T50" fmla="*/ 266 w 1206"/>
                  <a:gd name="T51" fmla="*/ 2032 h 2288"/>
                  <a:gd name="T52" fmla="*/ 150 w 1206"/>
                  <a:gd name="T53" fmla="*/ 1952 h 2288"/>
                  <a:gd name="T54" fmla="*/ 88 w 1206"/>
                  <a:gd name="T55" fmla="*/ 1874 h 2288"/>
                  <a:gd name="T56" fmla="*/ 42 w 1206"/>
                  <a:gd name="T57" fmla="*/ 1774 h 2288"/>
                  <a:gd name="T58" fmla="*/ 16 w 1206"/>
                  <a:gd name="T59" fmla="*/ 1648 h 2288"/>
                  <a:gd name="T60" fmla="*/ 6 w 1206"/>
                  <a:gd name="T61" fmla="*/ 1406 h 2288"/>
                  <a:gd name="T62" fmla="*/ 490 w 1206"/>
                  <a:gd name="T63" fmla="*/ 1612 h 2288"/>
                  <a:gd name="T64" fmla="*/ 504 w 1206"/>
                  <a:gd name="T65" fmla="*/ 1766 h 2288"/>
                  <a:gd name="T66" fmla="*/ 520 w 1206"/>
                  <a:gd name="T67" fmla="*/ 1794 h 2288"/>
                  <a:gd name="T68" fmla="*/ 562 w 1206"/>
                  <a:gd name="T69" fmla="*/ 1812 h 2288"/>
                  <a:gd name="T70" fmla="*/ 608 w 1206"/>
                  <a:gd name="T71" fmla="*/ 1808 h 2288"/>
                  <a:gd name="T72" fmla="*/ 642 w 1206"/>
                  <a:gd name="T73" fmla="*/ 1788 h 2288"/>
                  <a:gd name="T74" fmla="*/ 666 w 1206"/>
                  <a:gd name="T75" fmla="*/ 1738 h 2288"/>
                  <a:gd name="T76" fmla="*/ 670 w 1206"/>
                  <a:gd name="T77" fmla="*/ 1608 h 2288"/>
                  <a:gd name="T78" fmla="*/ 650 w 1206"/>
                  <a:gd name="T79" fmla="*/ 1450 h 2288"/>
                  <a:gd name="T80" fmla="*/ 616 w 1206"/>
                  <a:gd name="T81" fmla="*/ 1396 h 2288"/>
                  <a:gd name="T82" fmla="*/ 526 w 1206"/>
                  <a:gd name="T83" fmla="*/ 1318 h 2288"/>
                  <a:gd name="T84" fmla="*/ 308 w 1206"/>
                  <a:gd name="T85" fmla="*/ 1178 h 2288"/>
                  <a:gd name="T86" fmla="*/ 174 w 1206"/>
                  <a:gd name="T87" fmla="*/ 1078 h 2288"/>
                  <a:gd name="T88" fmla="*/ 104 w 1206"/>
                  <a:gd name="T89" fmla="*/ 994 h 2288"/>
                  <a:gd name="T90" fmla="*/ 58 w 1206"/>
                  <a:gd name="T91" fmla="*/ 912 h 2288"/>
                  <a:gd name="T92" fmla="*/ 14 w 1206"/>
                  <a:gd name="T93" fmla="*/ 786 h 2288"/>
                  <a:gd name="T94" fmla="*/ 0 w 1206"/>
                  <a:gd name="T95" fmla="*/ 644 h 2288"/>
                  <a:gd name="T96" fmla="*/ 16 w 1206"/>
                  <a:gd name="T97" fmla="*/ 496 h 2288"/>
                  <a:gd name="T98" fmla="*/ 92 w 1206"/>
                  <a:gd name="T99" fmla="*/ 338 h 2288"/>
                  <a:gd name="T100" fmla="*/ 190 w 1206"/>
                  <a:gd name="T101" fmla="*/ 250 h 2288"/>
                  <a:gd name="T102" fmla="*/ 374 w 1206"/>
                  <a:gd name="T103" fmla="*/ 174 h 2288"/>
                  <a:gd name="T104" fmla="*/ 710 w 1206"/>
                  <a:gd name="T105" fmla="*/ 0 h 2288"/>
                  <a:gd name="T106" fmla="*/ 814 w 1206"/>
                  <a:gd name="T107" fmla="*/ 174 h 2288"/>
                  <a:gd name="T108" fmla="*/ 982 w 1206"/>
                  <a:gd name="T109" fmla="*/ 250 h 2288"/>
                  <a:gd name="T110" fmla="*/ 1070 w 1206"/>
                  <a:gd name="T111" fmla="*/ 336 h 2288"/>
                  <a:gd name="T112" fmla="*/ 1140 w 1206"/>
                  <a:gd name="T113" fmla="*/ 492 h 2288"/>
                  <a:gd name="T114" fmla="*/ 1154 w 1206"/>
                  <a:gd name="T115" fmla="*/ 638 h 2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06" h="2288">
                    <a:moveTo>
                      <a:pt x="1150" y="730"/>
                    </a:moveTo>
                    <a:lnTo>
                      <a:pt x="668" y="730"/>
                    </a:lnTo>
                    <a:lnTo>
                      <a:pt x="668" y="650"/>
                    </a:lnTo>
                    <a:lnTo>
                      <a:pt x="668" y="650"/>
                    </a:lnTo>
                    <a:lnTo>
                      <a:pt x="668" y="592"/>
                    </a:lnTo>
                    <a:lnTo>
                      <a:pt x="664" y="544"/>
                    </a:lnTo>
                    <a:lnTo>
                      <a:pt x="658" y="508"/>
                    </a:lnTo>
                    <a:lnTo>
                      <a:pt x="656" y="494"/>
                    </a:lnTo>
                    <a:lnTo>
                      <a:pt x="652" y="482"/>
                    </a:lnTo>
                    <a:lnTo>
                      <a:pt x="652" y="482"/>
                    </a:lnTo>
                    <a:lnTo>
                      <a:pt x="646" y="474"/>
                    </a:lnTo>
                    <a:lnTo>
                      <a:pt x="640" y="466"/>
                    </a:lnTo>
                    <a:lnTo>
                      <a:pt x="634" y="458"/>
                    </a:lnTo>
                    <a:lnTo>
                      <a:pt x="626" y="454"/>
                    </a:lnTo>
                    <a:lnTo>
                      <a:pt x="616" y="448"/>
                    </a:lnTo>
                    <a:lnTo>
                      <a:pt x="606" y="446"/>
                    </a:lnTo>
                    <a:lnTo>
                      <a:pt x="594" y="444"/>
                    </a:lnTo>
                    <a:lnTo>
                      <a:pt x="580" y="444"/>
                    </a:lnTo>
                    <a:lnTo>
                      <a:pt x="580" y="444"/>
                    </a:lnTo>
                    <a:lnTo>
                      <a:pt x="560" y="446"/>
                    </a:lnTo>
                    <a:lnTo>
                      <a:pt x="550" y="448"/>
                    </a:lnTo>
                    <a:lnTo>
                      <a:pt x="542" y="452"/>
                    </a:lnTo>
                    <a:lnTo>
                      <a:pt x="534" y="456"/>
                    </a:lnTo>
                    <a:lnTo>
                      <a:pt x="526" y="462"/>
                    </a:lnTo>
                    <a:lnTo>
                      <a:pt x="520" y="470"/>
                    </a:lnTo>
                    <a:lnTo>
                      <a:pt x="514" y="478"/>
                    </a:lnTo>
                    <a:lnTo>
                      <a:pt x="514" y="478"/>
                    </a:lnTo>
                    <a:lnTo>
                      <a:pt x="504" y="496"/>
                    </a:lnTo>
                    <a:lnTo>
                      <a:pt x="498" y="520"/>
                    </a:lnTo>
                    <a:lnTo>
                      <a:pt x="494" y="548"/>
                    </a:lnTo>
                    <a:lnTo>
                      <a:pt x="492" y="580"/>
                    </a:lnTo>
                    <a:lnTo>
                      <a:pt x="492" y="580"/>
                    </a:lnTo>
                    <a:lnTo>
                      <a:pt x="492" y="606"/>
                    </a:lnTo>
                    <a:lnTo>
                      <a:pt x="494" y="632"/>
                    </a:lnTo>
                    <a:lnTo>
                      <a:pt x="498" y="654"/>
                    </a:lnTo>
                    <a:lnTo>
                      <a:pt x="504" y="676"/>
                    </a:lnTo>
                    <a:lnTo>
                      <a:pt x="510" y="694"/>
                    </a:lnTo>
                    <a:lnTo>
                      <a:pt x="518" y="712"/>
                    </a:lnTo>
                    <a:lnTo>
                      <a:pt x="526" y="726"/>
                    </a:lnTo>
                    <a:lnTo>
                      <a:pt x="538" y="738"/>
                    </a:lnTo>
                    <a:lnTo>
                      <a:pt x="538" y="738"/>
                    </a:lnTo>
                    <a:lnTo>
                      <a:pt x="550" y="750"/>
                    </a:lnTo>
                    <a:lnTo>
                      <a:pt x="570" y="766"/>
                    </a:lnTo>
                    <a:lnTo>
                      <a:pt x="624" y="804"/>
                    </a:lnTo>
                    <a:lnTo>
                      <a:pt x="700" y="854"/>
                    </a:lnTo>
                    <a:lnTo>
                      <a:pt x="798" y="914"/>
                    </a:lnTo>
                    <a:lnTo>
                      <a:pt x="798" y="914"/>
                    </a:lnTo>
                    <a:lnTo>
                      <a:pt x="882" y="966"/>
                    </a:lnTo>
                    <a:lnTo>
                      <a:pt x="952" y="1012"/>
                    </a:lnTo>
                    <a:lnTo>
                      <a:pt x="1006" y="1052"/>
                    </a:lnTo>
                    <a:lnTo>
                      <a:pt x="1048" y="1084"/>
                    </a:lnTo>
                    <a:lnTo>
                      <a:pt x="1048" y="1084"/>
                    </a:lnTo>
                    <a:lnTo>
                      <a:pt x="1064" y="1100"/>
                    </a:lnTo>
                    <a:lnTo>
                      <a:pt x="1080" y="1116"/>
                    </a:lnTo>
                    <a:lnTo>
                      <a:pt x="1094" y="1136"/>
                    </a:lnTo>
                    <a:lnTo>
                      <a:pt x="1110" y="1156"/>
                    </a:lnTo>
                    <a:lnTo>
                      <a:pt x="1122" y="1178"/>
                    </a:lnTo>
                    <a:lnTo>
                      <a:pt x="1136" y="1200"/>
                    </a:lnTo>
                    <a:lnTo>
                      <a:pt x="1148" y="1226"/>
                    </a:lnTo>
                    <a:lnTo>
                      <a:pt x="1160" y="1252"/>
                    </a:lnTo>
                    <a:lnTo>
                      <a:pt x="1160" y="1252"/>
                    </a:lnTo>
                    <a:lnTo>
                      <a:pt x="1170" y="1280"/>
                    </a:lnTo>
                    <a:lnTo>
                      <a:pt x="1180" y="1308"/>
                    </a:lnTo>
                    <a:lnTo>
                      <a:pt x="1188" y="1340"/>
                    </a:lnTo>
                    <a:lnTo>
                      <a:pt x="1194" y="1372"/>
                    </a:lnTo>
                    <a:lnTo>
                      <a:pt x="1200" y="1406"/>
                    </a:lnTo>
                    <a:lnTo>
                      <a:pt x="1204" y="1444"/>
                    </a:lnTo>
                    <a:lnTo>
                      <a:pt x="1206" y="1480"/>
                    </a:lnTo>
                    <a:lnTo>
                      <a:pt x="1206" y="1520"/>
                    </a:lnTo>
                    <a:lnTo>
                      <a:pt x="1206" y="1520"/>
                    </a:lnTo>
                    <a:lnTo>
                      <a:pt x="1204" y="1582"/>
                    </a:lnTo>
                    <a:lnTo>
                      <a:pt x="1198" y="1642"/>
                    </a:lnTo>
                    <a:lnTo>
                      <a:pt x="1188" y="1698"/>
                    </a:lnTo>
                    <a:lnTo>
                      <a:pt x="1176" y="1750"/>
                    </a:lnTo>
                    <a:lnTo>
                      <a:pt x="1166" y="1774"/>
                    </a:lnTo>
                    <a:lnTo>
                      <a:pt x="1158" y="1798"/>
                    </a:lnTo>
                    <a:lnTo>
                      <a:pt x="1148" y="1822"/>
                    </a:lnTo>
                    <a:lnTo>
                      <a:pt x="1136" y="1844"/>
                    </a:lnTo>
                    <a:lnTo>
                      <a:pt x="1124" y="1866"/>
                    </a:lnTo>
                    <a:lnTo>
                      <a:pt x="1112" y="1886"/>
                    </a:lnTo>
                    <a:lnTo>
                      <a:pt x="1098" y="1906"/>
                    </a:lnTo>
                    <a:lnTo>
                      <a:pt x="1082" y="1924"/>
                    </a:lnTo>
                    <a:lnTo>
                      <a:pt x="1082" y="1924"/>
                    </a:lnTo>
                    <a:lnTo>
                      <a:pt x="1066" y="1942"/>
                    </a:lnTo>
                    <a:lnTo>
                      <a:pt x="1050" y="1960"/>
                    </a:lnTo>
                    <a:lnTo>
                      <a:pt x="1032" y="1976"/>
                    </a:lnTo>
                    <a:lnTo>
                      <a:pt x="1012" y="1990"/>
                    </a:lnTo>
                    <a:lnTo>
                      <a:pt x="992" y="2006"/>
                    </a:lnTo>
                    <a:lnTo>
                      <a:pt x="972" y="2018"/>
                    </a:lnTo>
                    <a:lnTo>
                      <a:pt x="950" y="2032"/>
                    </a:lnTo>
                    <a:lnTo>
                      <a:pt x="928" y="2044"/>
                    </a:lnTo>
                    <a:lnTo>
                      <a:pt x="878" y="2064"/>
                    </a:lnTo>
                    <a:lnTo>
                      <a:pt x="826" y="2082"/>
                    </a:lnTo>
                    <a:lnTo>
                      <a:pt x="770" y="2096"/>
                    </a:lnTo>
                    <a:lnTo>
                      <a:pt x="710" y="2106"/>
                    </a:lnTo>
                    <a:lnTo>
                      <a:pt x="710" y="2288"/>
                    </a:lnTo>
                    <a:lnTo>
                      <a:pt x="488" y="2288"/>
                    </a:lnTo>
                    <a:lnTo>
                      <a:pt x="488" y="2100"/>
                    </a:lnTo>
                    <a:lnTo>
                      <a:pt x="488" y="2100"/>
                    </a:lnTo>
                    <a:lnTo>
                      <a:pt x="440" y="2094"/>
                    </a:lnTo>
                    <a:lnTo>
                      <a:pt x="394" y="2084"/>
                    </a:lnTo>
                    <a:lnTo>
                      <a:pt x="350" y="2070"/>
                    </a:lnTo>
                    <a:lnTo>
                      <a:pt x="308" y="2054"/>
                    </a:lnTo>
                    <a:lnTo>
                      <a:pt x="266" y="2032"/>
                    </a:lnTo>
                    <a:lnTo>
                      <a:pt x="226" y="2010"/>
                    </a:lnTo>
                    <a:lnTo>
                      <a:pt x="188" y="1982"/>
                    </a:lnTo>
                    <a:lnTo>
                      <a:pt x="150" y="1952"/>
                    </a:lnTo>
                    <a:lnTo>
                      <a:pt x="150" y="1952"/>
                    </a:lnTo>
                    <a:lnTo>
                      <a:pt x="134" y="1934"/>
                    </a:lnTo>
                    <a:lnTo>
                      <a:pt x="116" y="1916"/>
                    </a:lnTo>
                    <a:lnTo>
                      <a:pt x="102" y="1896"/>
                    </a:lnTo>
                    <a:lnTo>
                      <a:pt x="88" y="1874"/>
                    </a:lnTo>
                    <a:lnTo>
                      <a:pt x="74" y="1852"/>
                    </a:lnTo>
                    <a:lnTo>
                      <a:pt x="62" y="1828"/>
                    </a:lnTo>
                    <a:lnTo>
                      <a:pt x="52" y="1802"/>
                    </a:lnTo>
                    <a:lnTo>
                      <a:pt x="42" y="1774"/>
                    </a:lnTo>
                    <a:lnTo>
                      <a:pt x="34" y="1744"/>
                    </a:lnTo>
                    <a:lnTo>
                      <a:pt x="26" y="1714"/>
                    </a:lnTo>
                    <a:lnTo>
                      <a:pt x="20" y="1682"/>
                    </a:lnTo>
                    <a:lnTo>
                      <a:pt x="16" y="1648"/>
                    </a:lnTo>
                    <a:lnTo>
                      <a:pt x="12" y="1614"/>
                    </a:lnTo>
                    <a:lnTo>
                      <a:pt x="8" y="1578"/>
                    </a:lnTo>
                    <a:lnTo>
                      <a:pt x="6" y="1500"/>
                    </a:lnTo>
                    <a:lnTo>
                      <a:pt x="6" y="1406"/>
                    </a:lnTo>
                    <a:lnTo>
                      <a:pt x="488" y="1406"/>
                    </a:lnTo>
                    <a:lnTo>
                      <a:pt x="488" y="1524"/>
                    </a:lnTo>
                    <a:lnTo>
                      <a:pt x="488" y="1524"/>
                    </a:lnTo>
                    <a:lnTo>
                      <a:pt x="490" y="1612"/>
                    </a:lnTo>
                    <a:lnTo>
                      <a:pt x="492" y="1682"/>
                    </a:lnTo>
                    <a:lnTo>
                      <a:pt x="496" y="1732"/>
                    </a:lnTo>
                    <a:lnTo>
                      <a:pt x="500" y="1752"/>
                    </a:lnTo>
                    <a:lnTo>
                      <a:pt x="504" y="1766"/>
                    </a:lnTo>
                    <a:lnTo>
                      <a:pt x="504" y="1766"/>
                    </a:lnTo>
                    <a:lnTo>
                      <a:pt x="508" y="1776"/>
                    </a:lnTo>
                    <a:lnTo>
                      <a:pt x="514" y="1786"/>
                    </a:lnTo>
                    <a:lnTo>
                      <a:pt x="520" y="1794"/>
                    </a:lnTo>
                    <a:lnTo>
                      <a:pt x="528" y="1800"/>
                    </a:lnTo>
                    <a:lnTo>
                      <a:pt x="538" y="1806"/>
                    </a:lnTo>
                    <a:lnTo>
                      <a:pt x="550" y="1810"/>
                    </a:lnTo>
                    <a:lnTo>
                      <a:pt x="562" y="1812"/>
                    </a:lnTo>
                    <a:lnTo>
                      <a:pt x="576" y="1812"/>
                    </a:lnTo>
                    <a:lnTo>
                      <a:pt x="576" y="1812"/>
                    </a:lnTo>
                    <a:lnTo>
                      <a:pt x="598" y="1810"/>
                    </a:lnTo>
                    <a:lnTo>
                      <a:pt x="608" y="1808"/>
                    </a:lnTo>
                    <a:lnTo>
                      <a:pt x="618" y="1804"/>
                    </a:lnTo>
                    <a:lnTo>
                      <a:pt x="626" y="1800"/>
                    </a:lnTo>
                    <a:lnTo>
                      <a:pt x="634" y="1794"/>
                    </a:lnTo>
                    <a:lnTo>
                      <a:pt x="642" y="1788"/>
                    </a:lnTo>
                    <a:lnTo>
                      <a:pt x="648" y="1780"/>
                    </a:lnTo>
                    <a:lnTo>
                      <a:pt x="648" y="1780"/>
                    </a:lnTo>
                    <a:lnTo>
                      <a:pt x="658" y="1762"/>
                    </a:lnTo>
                    <a:lnTo>
                      <a:pt x="666" y="1738"/>
                    </a:lnTo>
                    <a:lnTo>
                      <a:pt x="670" y="1712"/>
                    </a:lnTo>
                    <a:lnTo>
                      <a:pt x="672" y="1682"/>
                    </a:lnTo>
                    <a:lnTo>
                      <a:pt x="672" y="1682"/>
                    </a:lnTo>
                    <a:lnTo>
                      <a:pt x="670" y="1608"/>
                    </a:lnTo>
                    <a:lnTo>
                      <a:pt x="666" y="1544"/>
                    </a:lnTo>
                    <a:lnTo>
                      <a:pt x="660" y="1492"/>
                    </a:lnTo>
                    <a:lnTo>
                      <a:pt x="654" y="1470"/>
                    </a:lnTo>
                    <a:lnTo>
                      <a:pt x="650" y="1450"/>
                    </a:lnTo>
                    <a:lnTo>
                      <a:pt x="650" y="1450"/>
                    </a:lnTo>
                    <a:lnTo>
                      <a:pt x="642" y="1432"/>
                    </a:lnTo>
                    <a:lnTo>
                      <a:pt x="632" y="1414"/>
                    </a:lnTo>
                    <a:lnTo>
                      <a:pt x="616" y="1396"/>
                    </a:lnTo>
                    <a:lnTo>
                      <a:pt x="600" y="1378"/>
                    </a:lnTo>
                    <a:lnTo>
                      <a:pt x="578" y="1358"/>
                    </a:lnTo>
                    <a:lnTo>
                      <a:pt x="554" y="1338"/>
                    </a:lnTo>
                    <a:lnTo>
                      <a:pt x="526" y="1318"/>
                    </a:lnTo>
                    <a:lnTo>
                      <a:pt x="494" y="1298"/>
                    </a:lnTo>
                    <a:lnTo>
                      <a:pt x="494" y="1298"/>
                    </a:lnTo>
                    <a:lnTo>
                      <a:pt x="392" y="1234"/>
                    </a:lnTo>
                    <a:lnTo>
                      <a:pt x="308" y="1178"/>
                    </a:lnTo>
                    <a:lnTo>
                      <a:pt x="242" y="1132"/>
                    </a:lnTo>
                    <a:lnTo>
                      <a:pt x="194" y="1096"/>
                    </a:lnTo>
                    <a:lnTo>
                      <a:pt x="194" y="1096"/>
                    </a:lnTo>
                    <a:lnTo>
                      <a:pt x="174" y="1078"/>
                    </a:lnTo>
                    <a:lnTo>
                      <a:pt x="156" y="1060"/>
                    </a:lnTo>
                    <a:lnTo>
                      <a:pt x="138" y="1038"/>
                    </a:lnTo>
                    <a:lnTo>
                      <a:pt x="120" y="1016"/>
                    </a:lnTo>
                    <a:lnTo>
                      <a:pt x="104" y="994"/>
                    </a:lnTo>
                    <a:lnTo>
                      <a:pt x="88" y="968"/>
                    </a:lnTo>
                    <a:lnTo>
                      <a:pt x="72" y="940"/>
                    </a:lnTo>
                    <a:lnTo>
                      <a:pt x="58" y="912"/>
                    </a:lnTo>
                    <a:lnTo>
                      <a:pt x="58" y="912"/>
                    </a:lnTo>
                    <a:lnTo>
                      <a:pt x="44" y="882"/>
                    </a:lnTo>
                    <a:lnTo>
                      <a:pt x="32" y="852"/>
                    </a:lnTo>
                    <a:lnTo>
                      <a:pt x="22" y="820"/>
                    </a:lnTo>
                    <a:lnTo>
                      <a:pt x="14" y="786"/>
                    </a:lnTo>
                    <a:lnTo>
                      <a:pt x="8" y="752"/>
                    </a:lnTo>
                    <a:lnTo>
                      <a:pt x="2" y="718"/>
                    </a:lnTo>
                    <a:lnTo>
                      <a:pt x="0" y="682"/>
                    </a:lnTo>
                    <a:lnTo>
                      <a:pt x="0" y="644"/>
                    </a:lnTo>
                    <a:lnTo>
                      <a:pt x="0" y="644"/>
                    </a:lnTo>
                    <a:lnTo>
                      <a:pt x="2" y="592"/>
                    </a:lnTo>
                    <a:lnTo>
                      <a:pt x="6" y="542"/>
                    </a:lnTo>
                    <a:lnTo>
                      <a:pt x="16" y="496"/>
                    </a:lnTo>
                    <a:lnTo>
                      <a:pt x="30" y="452"/>
                    </a:lnTo>
                    <a:lnTo>
                      <a:pt x="48" y="412"/>
                    </a:lnTo>
                    <a:lnTo>
                      <a:pt x="68" y="374"/>
                    </a:lnTo>
                    <a:lnTo>
                      <a:pt x="92" y="338"/>
                    </a:lnTo>
                    <a:lnTo>
                      <a:pt x="122" y="306"/>
                    </a:lnTo>
                    <a:lnTo>
                      <a:pt x="122" y="306"/>
                    </a:lnTo>
                    <a:lnTo>
                      <a:pt x="154" y="278"/>
                    </a:lnTo>
                    <a:lnTo>
                      <a:pt x="190" y="250"/>
                    </a:lnTo>
                    <a:lnTo>
                      <a:pt x="230" y="228"/>
                    </a:lnTo>
                    <a:lnTo>
                      <a:pt x="274" y="206"/>
                    </a:lnTo>
                    <a:lnTo>
                      <a:pt x="322" y="190"/>
                    </a:lnTo>
                    <a:lnTo>
                      <a:pt x="374" y="174"/>
                    </a:lnTo>
                    <a:lnTo>
                      <a:pt x="430" y="164"/>
                    </a:lnTo>
                    <a:lnTo>
                      <a:pt x="488" y="154"/>
                    </a:lnTo>
                    <a:lnTo>
                      <a:pt x="488" y="0"/>
                    </a:lnTo>
                    <a:lnTo>
                      <a:pt x="710" y="0"/>
                    </a:lnTo>
                    <a:lnTo>
                      <a:pt x="710" y="154"/>
                    </a:lnTo>
                    <a:lnTo>
                      <a:pt x="710" y="154"/>
                    </a:lnTo>
                    <a:lnTo>
                      <a:pt x="764" y="164"/>
                    </a:lnTo>
                    <a:lnTo>
                      <a:pt x="814" y="174"/>
                    </a:lnTo>
                    <a:lnTo>
                      <a:pt x="862" y="190"/>
                    </a:lnTo>
                    <a:lnTo>
                      <a:pt x="904" y="206"/>
                    </a:lnTo>
                    <a:lnTo>
                      <a:pt x="944" y="226"/>
                    </a:lnTo>
                    <a:lnTo>
                      <a:pt x="982" y="250"/>
                    </a:lnTo>
                    <a:lnTo>
                      <a:pt x="1014" y="276"/>
                    </a:lnTo>
                    <a:lnTo>
                      <a:pt x="1044" y="304"/>
                    </a:lnTo>
                    <a:lnTo>
                      <a:pt x="1044" y="304"/>
                    </a:lnTo>
                    <a:lnTo>
                      <a:pt x="1070" y="336"/>
                    </a:lnTo>
                    <a:lnTo>
                      <a:pt x="1092" y="370"/>
                    </a:lnTo>
                    <a:lnTo>
                      <a:pt x="1112" y="408"/>
                    </a:lnTo>
                    <a:lnTo>
                      <a:pt x="1128" y="448"/>
                    </a:lnTo>
                    <a:lnTo>
                      <a:pt x="1140" y="492"/>
                    </a:lnTo>
                    <a:lnTo>
                      <a:pt x="1148" y="538"/>
                    </a:lnTo>
                    <a:lnTo>
                      <a:pt x="1154" y="588"/>
                    </a:lnTo>
                    <a:lnTo>
                      <a:pt x="1154" y="638"/>
                    </a:lnTo>
                    <a:lnTo>
                      <a:pt x="1154" y="638"/>
                    </a:lnTo>
                    <a:lnTo>
                      <a:pt x="1154" y="676"/>
                    </a:lnTo>
                    <a:lnTo>
                      <a:pt x="1150" y="730"/>
                    </a:lnTo>
                    <a:lnTo>
                      <a:pt x="1150" y="730"/>
                    </a:lnTo>
                    <a:close/>
                  </a:path>
                </a:pathLst>
              </a:custGeom>
              <a:solidFill>
                <a:schemeClr val="bg1"/>
              </a:solidFill>
              <a:ln>
                <a:noFill/>
              </a:ln>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60" name="Freeform 149"/>
              <p:cNvSpPr/>
              <p:nvPr/>
            </p:nvSpPr>
            <p:spPr>
              <a:xfrm>
                <a:off x="3412079" y="3133730"/>
                <a:ext cx="897966" cy="497757"/>
              </a:xfrm>
              <a:custGeom>
                <a:avLst/>
                <a:gdLst>
                  <a:gd name="connsiteX0" fmla="*/ 0 w 1857388"/>
                  <a:gd name="connsiteY0" fmla="*/ 928694 h 1857388"/>
                  <a:gd name="connsiteX1" fmla="*/ 272009 w 1857388"/>
                  <a:gd name="connsiteY1" fmla="*/ 272008 h 1857388"/>
                  <a:gd name="connsiteX2" fmla="*/ 928695 w 1857388"/>
                  <a:gd name="connsiteY2" fmla="*/ 1 h 1857388"/>
                  <a:gd name="connsiteX3" fmla="*/ 1585381 w 1857388"/>
                  <a:gd name="connsiteY3" fmla="*/ 272010 h 1857388"/>
                  <a:gd name="connsiteX4" fmla="*/ 1857388 w 1857388"/>
                  <a:gd name="connsiteY4" fmla="*/ 928696 h 1857388"/>
                  <a:gd name="connsiteX5" fmla="*/ 1585380 w 1857388"/>
                  <a:gd name="connsiteY5" fmla="*/ 1585382 h 1857388"/>
                  <a:gd name="connsiteX6" fmla="*/ 928694 w 1857388"/>
                  <a:gd name="connsiteY6" fmla="*/ 1857390 h 1857388"/>
                  <a:gd name="connsiteX7" fmla="*/ 272008 w 1857388"/>
                  <a:gd name="connsiteY7" fmla="*/ 1585381 h 1857388"/>
                  <a:gd name="connsiteX8" fmla="*/ 0 w 1857388"/>
                  <a:gd name="connsiteY8" fmla="*/ 928695 h 1857388"/>
                  <a:gd name="connsiteX9" fmla="*/ 0 w 1857388"/>
                  <a:gd name="connsiteY9" fmla="*/ 928694 h 1857388"/>
                  <a:gd name="connsiteX0-1" fmla="*/ 0 w 1857389"/>
                  <a:gd name="connsiteY0-2" fmla="*/ 928694 h 1860704"/>
                  <a:gd name="connsiteX1-3" fmla="*/ 272009 w 1857389"/>
                  <a:gd name="connsiteY1-4" fmla="*/ 272008 h 1860704"/>
                  <a:gd name="connsiteX2-5" fmla="*/ 928695 w 1857389"/>
                  <a:gd name="connsiteY2-6" fmla="*/ 1 h 1860704"/>
                  <a:gd name="connsiteX3-7" fmla="*/ 1585381 w 1857389"/>
                  <a:gd name="connsiteY3-8" fmla="*/ 272010 h 1860704"/>
                  <a:gd name="connsiteX4-9" fmla="*/ 1857388 w 1857389"/>
                  <a:gd name="connsiteY4-10" fmla="*/ 928696 h 1860704"/>
                  <a:gd name="connsiteX5-11" fmla="*/ 1585380 w 1857389"/>
                  <a:gd name="connsiteY5-12" fmla="*/ 1585382 h 1860704"/>
                  <a:gd name="connsiteX6-13" fmla="*/ 928694 w 1857389"/>
                  <a:gd name="connsiteY6-14" fmla="*/ 1857390 h 1860704"/>
                  <a:gd name="connsiteX7-15" fmla="*/ 923762 w 1857389"/>
                  <a:gd name="connsiteY7-16" fmla="*/ 1565498 h 1860704"/>
                  <a:gd name="connsiteX8-17" fmla="*/ 272008 w 1857389"/>
                  <a:gd name="connsiteY8-18" fmla="*/ 1585381 h 1860704"/>
                  <a:gd name="connsiteX9-19" fmla="*/ 0 w 1857389"/>
                  <a:gd name="connsiteY9-20" fmla="*/ 928695 h 1860704"/>
                  <a:gd name="connsiteX10" fmla="*/ 0 w 1857389"/>
                  <a:gd name="connsiteY10" fmla="*/ 928694 h 1860704"/>
                  <a:gd name="connsiteX0-21" fmla="*/ 0 w 1857389"/>
                  <a:gd name="connsiteY0-22" fmla="*/ 928694 h 1859638"/>
                  <a:gd name="connsiteX1-23" fmla="*/ 272009 w 1857389"/>
                  <a:gd name="connsiteY1-24" fmla="*/ 272008 h 1859638"/>
                  <a:gd name="connsiteX2-25" fmla="*/ 928695 w 1857389"/>
                  <a:gd name="connsiteY2-26" fmla="*/ 1 h 1859638"/>
                  <a:gd name="connsiteX3-27" fmla="*/ 1585381 w 1857389"/>
                  <a:gd name="connsiteY3-28" fmla="*/ 272010 h 1859638"/>
                  <a:gd name="connsiteX4-29" fmla="*/ 1857388 w 1857389"/>
                  <a:gd name="connsiteY4-30" fmla="*/ 928696 h 1859638"/>
                  <a:gd name="connsiteX5-31" fmla="*/ 1585380 w 1857389"/>
                  <a:gd name="connsiteY5-32" fmla="*/ 1585382 h 1859638"/>
                  <a:gd name="connsiteX6-33" fmla="*/ 928694 w 1857389"/>
                  <a:gd name="connsiteY6-34" fmla="*/ 1857390 h 1859638"/>
                  <a:gd name="connsiteX7-35" fmla="*/ 1069803 w 1857389"/>
                  <a:gd name="connsiteY7-36" fmla="*/ 1571892 h 1859638"/>
                  <a:gd name="connsiteX8-37" fmla="*/ 923762 w 1857389"/>
                  <a:gd name="connsiteY8-38" fmla="*/ 1565498 h 1859638"/>
                  <a:gd name="connsiteX9-39" fmla="*/ 272008 w 1857389"/>
                  <a:gd name="connsiteY9-40" fmla="*/ 1585381 h 1859638"/>
                  <a:gd name="connsiteX10-41" fmla="*/ 0 w 1857389"/>
                  <a:gd name="connsiteY10-42" fmla="*/ 928695 h 1859638"/>
                  <a:gd name="connsiteX11" fmla="*/ 0 w 1857389"/>
                  <a:gd name="connsiteY11" fmla="*/ 928694 h 1859638"/>
                  <a:gd name="connsiteX0-43" fmla="*/ 0 w 1857389"/>
                  <a:gd name="connsiteY0-44" fmla="*/ 928694 h 1691515"/>
                  <a:gd name="connsiteX1-45" fmla="*/ 272009 w 1857389"/>
                  <a:gd name="connsiteY1-46" fmla="*/ 272008 h 1691515"/>
                  <a:gd name="connsiteX2-47" fmla="*/ 928695 w 1857389"/>
                  <a:gd name="connsiteY2-48" fmla="*/ 1 h 1691515"/>
                  <a:gd name="connsiteX3-49" fmla="*/ 1585381 w 1857389"/>
                  <a:gd name="connsiteY3-50" fmla="*/ 272010 h 1691515"/>
                  <a:gd name="connsiteX4-51" fmla="*/ 1857388 w 1857389"/>
                  <a:gd name="connsiteY4-52" fmla="*/ 928696 h 1691515"/>
                  <a:gd name="connsiteX5-53" fmla="*/ 1585380 w 1857389"/>
                  <a:gd name="connsiteY5-54" fmla="*/ 1585382 h 1691515"/>
                  <a:gd name="connsiteX6-55" fmla="*/ 1214414 w 1857389"/>
                  <a:gd name="connsiteY6-56" fmla="*/ 1500176 h 1691515"/>
                  <a:gd name="connsiteX7-57" fmla="*/ 1069803 w 1857389"/>
                  <a:gd name="connsiteY7-58" fmla="*/ 1571892 h 1691515"/>
                  <a:gd name="connsiteX8-59" fmla="*/ 923762 w 1857389"/>
                  <a:gd name="connsiteY8-60" fmla="*/ 1565498 h 1691515"/>
                  <a:gd name="connsiteX9-61" fmla="*/ 272008 w 1857389"/>
                  <a:gd name="connsiteY9-62" fmla="*/ 1585381 h 1691515"/>
                  <a:gd name="connsiteX10-63" fmla="*/ 0 w 1857389"/>
                  <a:gd name="connsiteY10-64" fmla="*/ 928695 h 1691515"/>
                  <a:gd name="connsiteX11-65" fmla="*/ 0 w 1857389"/>
                  <a:gd name="connsiteY11-66" fmla="*/ 928694 h 1691515"/>
                  <a:gd name="connsiteX0-67" fmla="*/ 0 w 1857389"/>
                  <a:gd name="connsiteY0-68" fmla="*/ 928694 h 1691515"/>
                  <a:gd name="connsiteX1-69" fmla="*/ 272009 w 1857389"/>
                  <a:gd name="connsiteY1-70" fmla="*/ 272008 h 1691515"/>
                  <a:gd name="connsiteX2-71" fmla="*/ 928695 w 1857389"/>
                  <a:gd name="connsiteY2-72" fmla="*/ 1 h 1691515"/>
                  <a:gd name="connsiteX3-73" fmla="*/ 1585381 w 1857389"/>
                  <a:gd name="connsiteY3-74" fmla="*/ 272010 h 1691515"/>
                  <a:gd name="connsiteX4-75" fmla="*/ 1857388 w 1857389"/>
                  <a:gd name="connsiteY4-76" fmla="*/ 928696 h 1691515"/>
                  <a:gd name="connsiteX5-77" fmla="*/ 1585380 w 1857389"/>
                  <a:gd name="connsiteY5-78" fmla="*/ 1585382 h 1691515"/>
                  <a:gd name="connsiteX6-79" fmla="*/ 1214414 w 1857389"/>
                  <a:gd name="connsiteY6-80" fmla="*/ 1500176 h 1691515"/>
                  <a:gd name="connsiteX7-81" fmla="*/ 923762 w 1857389"/>
                  <a:gd name="connsiteY7-82" fmla="*/ 1565498 h 1691515"/>
                  <a:gd name="connsiteX8-83" fmla="*/ 272008 w 1857389"/>
                  <a:gd name="connsiteY8-84" fmla="*/ 1585381 h 1691515"/>
                  <a:gd name="connsiteX9-85" fmla="*/ 0 w 1857389"/>
                  <a:gd name="connsiteY9-86" fmla="*/ 928695 h 1691515"/>
                  <a:gd name="connsiteX10-87" fmla="*/ 0 w 1857389"/>
                  <a:gd name="connsiteY10-88" fmla="*/ 928694 h 1691515"/>
                  <a:gd name="connsiteX0-89" fmla="*/ 0 w 1857389"/>
                  <a:gd name="connsiteY0-90" fmla="*/ 928694 h 1680629"/>
                  <a:gd name="connsiteX1-91" fmla="*/ 272009 w 1857389"/>
                  <a:gd name="connsiteY1-92" fmla="*/ 272008 h 1680629"/>
                  <a:gd name="connsiteX2-93" fmla="*/ 928695 w 1857389"/>
                  <a:gd name="connsiteY2-94" fmla="*/ 1 h 1680629"/>
                  <a:gd name="connsiteX3-95" fmla="*/ 1585381 w 1857389"/>
                  <a:gd name="connsiteY3-96" fmla="*/ 272010 h 1680629"/>
                  <a:gd name="connsiteX4-97" fmla="*/ 1857388 w 1857389"/>
                  <a:gd name="connsiteY4-98" fmla="*/ 928696 h 1680629"/>
                  <a:gd name="connsiteX5-99" fmla="*/ 1585380 w 1857389"/>
                  <a:gd name="connsiteY5-100" fmla="*/ 1585382 h 1680629"/>
                  <a:gd name="connsiteX6-101" fmla="*/ 1214414 w 1857389"/>
                  <a:gd name="connsiteY6-102" fmla="*/ 1500176 h 1680629"/>
                  <a:gd name="connsiteX7-103" fmla="*/ 272008 w 1857389"/>
                  <a:gd name="connsiteY7-104" fmla="*/ 1585381 h 1680629"/>
                  <a:gd name="connsiteX8-105" fmla="*/ 0 w 1857389"/>
                  <a:gd name="connsiteY8-106" fmla="*/ 928695 h 1680629"/>
                  <a:gd name="connsiteX9-107" fmla="*/ 0 w 1857389"/>
                  <a:gd name="connsiteY9-108" fmla="*/ 928694 h 1680629"/>
                  <a:gd name="connsiteX0-109" fmla="*/ 0 w 1857389"/>
                  <a:gd name="connsiteY0-110" fmla="*/ 928694 h 1680629"/>
                  <a:gd name="connsiteX1-111" fmla="*/ 272009 w 1857389"/>
                  <a:gd name="connsiteY1-112" fmla="*/ 272008 h 1680629"/>
                  <a:gd name="connsiteX2-113" fmla="*/ 928695 w 1857389"/>
                  <a:gd name="connsiteY2-114" fmla="*/ 1 h 1680629"/>
                  <a:gd name="connsiteX3-115" fmla="*/ 1585381 w 1857389"/>
                  <a:gd name="connsiteY3-116" fmla="*/ 272010 h 1680629"/>
                  <a:gd name="connsiteX4-117" fmla="*/ 1857388 w 1857389"/>
                  <a:gd name="connsiteY4-118" fmla="*/ 928696 h 1680629"/>
                  <a:gd name="connsiteX5-119" fmla="*/ 1585380 w 1857389"/>
                  <a:gd name="connsiteY5-120" fmla="*/ 1585382 h 1680629"/>
                  <a:gd name="connsiteX6-121" fmla="*/ 1214414 w 1857389"/>
                  <a:gd name="connsiteY6-122" fmla="*/ 1500176 h 1680629"/>
                  <a:gd name="connsiteX7-123" fmla="*/ 0 w 1857389"/>
                  <a:gd name="connsiteY7-124" fmla="*/ 928695 h 1680629"/>
                  <a:gd name="connsiteX8-125" fmla="*/ 0 w 1857389"/>
                  <a:gd name="connsiteY8-126" fmla="*/ 928694 h 1680629"/>
                  <a:gd name="connsiteX0-127" fmla="*/ 0 w 1857389"/>
                  <a:gd name="connsiteY0-128" fmla="*/ 928694 h 1609187"/>
                  <a:gd name="connsiteX1-129" fmla="*/ 272009 w 1857389"/>
                  <a:gd name="connsiteY1-130" fmla="*/ 272008 h 1609187"/>
                  <a:gd name="connsiteX2-131" fmla="*/ 928695 w 1857389"/>
                  <a:gd name="connsiteY2-132" fmla="*/ 1 h 1609187"/>
                  <a:gd name="connsiteX3-133" fmla="*/ 1585381 w 1857389"/>
                  <a:gd name="connsiteY3-134" fmla="*/ 272010 h 1609187"/>
                  <a:gd name="connsiteX4-135" fmla="*/ 1857388 w 1857389"/>
                  <a:gd name="connsiteY4-136" fmla="*/ 928696 h 1609187"/>
                  <a:gd name="connsiteX5-137" fmla="*/ 1585380 w 1857389"/>
                  <a:gd name="connsiteY5-138" fmla="*/ 1585382 h 1609187"/>
                  <a:gd name="connsiteX6-139" fmla="*/ 928630 w 1857389"/>
                  <a:gd name="connsiteY6-140" fmla="*/ 1071524 h 1609187"/>
                  <a:gd name="connsiteX7-141" fmla="*/ 0 w 1857389"/>
                  <a:gd name="connsiteY7-142" fmla="*/ 928695 h 1609187"/>
                  <a:gd name="connsiteX8-143" fmla="*/ 0 w 1857389"/>
                  <a:gd name="connsiteY8-144" fmla="*/ 928694 h 1609187"/>
                  <a:gd name="connsiteX0-145" fmla="*/ 0 w 1857389"/>
                  <a:gd name="connsiteY0-146" fmla="*/ 928694 h 1071524"/>
                  <a:gd name="connsiteX1-147" fmla="*/ 272009 w 1857389"/>
                  <a:gd name="connsiteY1-148" fmla="*/ 272008 h 1071524"/>
                  <a:gd name="connsiteX2-149" fmla="*/ 928695 w 1857389"/>
                  <a:gd name="connsiteY2-150" fmla="*/ 1 h 1071524"/>
                  <a:gd name="connsiteX3-151" fmla="*/ 1585381 w 1857389"/>
                  <a:gd name="connsiteY3-152" fmla="*/ 272010 h 1071524"/>
                  <a:gd name="connsiteX4-153" fmla="*/ 1857388 w 1857389"/>
                  <a:gd name="connsiteY4-154" fmla="*/ 928696 h 1071524"/>
                  <a:gd name="connsiteX5-155" fmla="*/ 928630 w 1857389"/>
                  <a:gd name="connsiteY5-156" fmla="*/ 1071524 h 1071524"/>
                  <a:gd name="connsiteX6-157" fmla="*/ 0 w 1857389"/>
                  <a:gd name="connsiteY6-158" fmla="*/ 928695 h 1071524"/>
                  <a:gd name="connsiteX7-159" fmla="*/ 0 w 1857389"/>
                  <a:gd name="connsiteY7-160" fmla="*/ 928694 h 1071524"/>
                  <a:gd name="connsiteX0-161" fmla="*/ 0 w 1857389"/>
                  <a:gd name="connsiteY0-162" fmla="*/ 928694 h 1061948"/>
                  <a:gd name="connsiteX1-163" fmla="*/ 272009 w 1857389"/>
                  <a:gd name="connsiteY1-164" fmla="*/ 272008 h 1061948"/>
                  <a:gd name="connsiteX2-165" fmla="*/ 928695 w 1857389"/>
                  <a:gd name="connsiteY2-166" fmla="*/ 1 h 1061948"/>
                  <a:gd name="connsiteX3-167" fmla="*/ 1585381 w 1857389"/>
                  <a:gd name="connsiteY3-168" fmla="*/ 272010 h 1061948"/>
                  <a:gd name="connsiteX4-169" fmla="*/ 1857388 w 1857389"/>
                  <a:gd name="connsiteY4-170" fmla="*/ 928696 h 1061948"/>
                  <a:gd name="connsiteX5-171" fmla="*/ 928630 w 1857389"/>
                  <a:gd name="connsiteY5-172" fmla="*/ 714310 h 1061948"/>
                  <a:gd name="connsiteX6-173" fmla="*/ 0 w 1857389"/>
                  <a:gd name="connsiteY6-174" fmla="*/ 928695 h 1061948"/>
                  <a:gd name="connsiteX7-175" fmla="*/ 0 w 1857389"/>
                  <a:gd name="connsiteY7-176" fmla="*/ 928694 h 1061948"/>
                  <a:gd name="connsiteX0-177" fmla="*/ 0 w 1857389"/>
                  <a:gd name="connsiteY0-178" fmla="*/ 928694 h 1061948"/>
                  <a:gd name="connsiteX1-179" fmla="*/ 272009 w 1857389"/>
                  <a:gd name="connsiteY1-180" fmla="*/ 272008 h 1061948"/>
                  <a:gd name="connsiteX2-181" fmla="*/ 928695 w 1857389"/>
                  <a:gd name="connsiteY2-182" fmla="*/ 1 h 1061948"/>
                  <a:gd name="connsiteX3-183" fmla="*/ 1585381 w 1857389"/>
                  <a:gd name="connsiteY3-184" fmla="*/ 272010 h 1061948"/>
                  <a:gd name="connsiteX4-185" fmla="*/ 1857388 w 1857389"/>
                  <a:gd name="connsiteY4-186" fmla="*/ 928696 h 1061948"/>
                  <a:gd name="connsiteX5-187" fmla="*/ 928630 w 1857389"/>
                  <a:gd name="connsiteY5-188" fmla="*/ 714310 h 1061948"/>
                  <a:gd name="connsiteX6-189" fmla="*/ 0 w 1857389"/>
                  <a:gd name="connsiteY6-190" fmla="*/ 928695 h 1061948"/>
                  <a:gd name="connsiteX7-191" fmla="*/ 0 w 1857389"/>
                  <a:gd name="connsiteY7-192" fmla="*/ 928694 h 1061948"/>
                  <a:gd name="connsiteX0-193" fmla="*/ 0 w 1857389"/>
                  <a:gd name="connsiteY0-194" fmla="*/ 928694 h 1061948"/>
                  <a:gd name="connsiteX1-195" fmla="*/ 272009 w 1857389"/>
                  <a:gd name="connsiteY1-196" fmla="*/ 272008 h 1061948"/>
                  <a:gd name="connsiteX2-197" fmla="*/ 928695 w 1857389"/>
                  <a:gd name="connsiteY2-198" fmla="*/ 1 h 1061948"/>
                  <a:gd name="connsiteX3-199" fmla="*/ 1585381 w 1857389"/>
                  <a:gd name="connsiteY3-200" fmla="*/ 272010 h 1061948"/>
                  <a:gd name="connsiteX4-201" fmla="*/ 1857388 w 1857389"/>
                  <a:gd name="connsiteY4-202" fmla="*/ 928696 h 1061948"/>
                  <a:gd name="connsiteX5-203" fmla="*/ 928630 w 1857389"/>
                  <a:gd name="connsiteY5-204" fmla="*/ 714310 h 1061948"/>
                  <a:gd name="connsiteX6-205" fmla="*/ 0 w 1857389"/>
                  <a:gd name="connsiteY6-206" fmla="*/ 928695 h 1061948"/>
                  <a:gd name="connsiteX7-207" fmla="*/ 0 w 1857389"/>
                  <a:gd name="connsiteY7-208" fmla="*/ 928694 h 1061948"/>
                  <a:gd name="connsiteX0-209" fmla="*/ 0 w 1857389"/>
                  <a:gd name="connsiteY0-210" fmla="*/ 928694 h 1061948"/>
                  <a:gd name="connsiteX1-211" fmla="*/ 272009 w 1857389"/>
                  <a:gd name="connsiteY1-212" fmla="*/ 272008 h 1061948"/>
                  <a:gd name="connsiteX2-213" fmla="*/ 928695 w 1857389"/>
                  <a:gd name="connsiteY2-214" fmla="*/ 1 h 1061948"/>
                  <a:gd name="connsiteX3-215" fmla="*/ 1585381 w 1857389"/>
                  <a:gd name="connsiteY3-216" fmla="*/ 272010 h 1061948"/>
                  <a:gd name="connsiteX4-217" fmla="*/ 1857388 w 1857389"/>
                  <a:gd name="connsiteY4-218" fmla="*/ 928696 h 1061948"/>
                  <a:gd name="connsiteX5-219" fmla="*/ 928630 w 1857389"/>
                  <a:gd name="connsiteY5-220" fmla="*/ 714310 h 1061948"/>
                  <a:gd name="connsiteX6-221" fmla="*/ 0 w 1857389"/>
                  <a:gd name="connsiteY6-222" fmla="*/ 928695 h 1061948"/>
                  <a:gd name="connsiteX7-223" fmla="*/ 0 w 1857389"/>
                  <a:gd name="connsiteY7-224" fmla="*/ 928694 h 1061948"/>
                  <a:gd name="connsiteX0-225" fmla="*/ 0 w 1857389"/>
                  <a:gd name="connsiteY0-226" fmla="*/ 928694 h 1061948"/>
                  <a:gd name="connsiteX1-227" fmla="*/ 272009 w 1857389"/>
                  <a:gd name="connsiteY1-228" fmla="*/ 272008 h 1061948"/>
                  <a:gd name="connsiteX2-229" fmla="*/ 928695 w 1857389"/>
                  <a:gd name="connsiteY2-230" fmla="*/ 1 h 1061948"/>
                  <a:gd name="connsiteX3-231" fmla="*/ 1585381 w 1857389"/>
                  <a:gd name="connsiteY3-232" fmla="*/ 272010 h 1061948"/>
                  <a:gd name="connsiteX4-233" fmla="*/ 1857388 w 1857389"/>
                  <a:gd name="connsiteY4-234" fmla="*/ 928696 h 1061948"/>
                  <a:gd name="connsiteX5-235" fmla="*/ 928630 w 1857389"/>
                  <a:gd name="connsiteY5-236" fmla="*/ 714310 h 1061948"/>
                  <a:gd name="connsiteX6-237" fmla="*/ 0 w 1857389"/>
                  <a:gd name="connsiteY6-238" fmla="*/ 928695 h 1061948"/>
                  <a:gd name="connsiteX7-239" fmla="*/ 0 w 1857389"/>
                  <a:gd name="connsiteY7-240" fmla="*/ 928694 h 10619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1857389" h="1061948">
                    <a:moveTo>
                      <a:pt x="0" y="928694"/>
                    </a:moveTo>
                    <a:cubicBezTo>
                      <a:pt x="0" y="682389"/>
                      <a:pt x="97845" y="446172"/>
                      <a:pt x="272009" y="272008"/>
                    </a:cubicBezTo>
                    <a:cubicBezTo>
                      <a:pt x="446173" y="97844"/>
                      <a:pt x="682390" y="0"/>
                      <a:pt x="928695" y="1"/>
                    </a:cubicBezTo>
                    <a:cubicBezTo>
                      <a:pt x="1175000" y="1"/>
                      <a:pt x="1411217" y="97846"/>
                      <a:pt x="1585381" y="272010"/>
                    </a:cubicBezTo>
                    <a:cubicBezTo>
                      <a:pt x="1759545" y="446174"/>
                      <a:pt x="1857389" y="682391"/>
                      <a:pt x="1857388" y="928696"/>
                    </a:cubicBezTo>
                    <a:cubicBezTo>
                      <a:pt x="1747930" y="1061948"/>
                      <a:pt x="1490097" y="775634"/>
                      <a:pt x="928630" y="714310"/>
                    </a:cubicBezTo>
                    <a:cubicBezTo>
                      <a:pt x="401146" y="682484"/>
                      <a:pt x="202402" y="1023942"/>
                      <a:pt x="0" y="928695"/>
                    </a:cubicBezTo>
                    <a:lnTo>
                      <a:pt x="0" y="928694"/>
                    </a:lnTo>
                    <a:close/>
                  </a:path>
                </a:pathLst>
              </a:custGeom>
              <a:gradFill flip="none" rotWithShape="1">
                <a:gsLst>
                  <a:gs pos="0">
                    <a:schemeClr val="bg1">
                      <a:alpha val="16000"/>
                    </a:schemeClr>
                  </a:gs>
                  <a:gs pos="100000">
                    <a:schemeClr val="bg1">
                      <a:alpha val="77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grpSp>
        <p:grpSp>
          <p:nvGrpSpPr>
            <p:cNvPr id="20" name="Group 150"/>
            <p:cNvGrpSpPr/>
            <p:nvPr/>
          </p:nvGrpSpPr>
          <p:grpSpPr>
            <a:xfrm>
              <a:off x="5395378" y="3369073"/>
              <a:ext cx="2262693" cy="2182593"/>
              <a:chOff x="1677988" y="384175"/>
              <a:chExt cx="358775" cy="346075"/>
            </a:xfrm>
            <a:solidFill>
              <a:schemeClr val="tx1">
                <a:lumMod val="85000"/>
                <a:lumOff val="15000"/>
              </a:schemeClr>
            </a:solidFill>
          </p:grpSpPr>
          <p:sp>
            <p:nvSpPr>
              <p:cNvPr id="90" name="Freeform 68"/>
              <p:cNvSpPr>
                <a:spLocks noEditPoints="1"/>
              </p:cNvSpPr>
              <p:nvPr/>
            </p:nvSpPr>
            <p:spPr bwMode="auto">
              <a:xfrm>
                <a:off x="1677988" y="384175"/>
                <a:ext cx="358775" cy="346075"/>
              </a:xfrm>
              <a:custGeom>
                <a:avLst/>
                <a:gdLst>
                  <a:gd name="T0" fmla="*/ 1106 w 1129"/>
                  <a:gd name="T1" fmla="*/ 0 h 1089"/>
                  <a:gd name="T2" fmla="*/ 885 w 1129"/>
                  <a:gd name="T3" fmla="*/ 56 h 1089"/>
                  <a:gd name="T4" fmla="*/ 12 w 1129"/>
                  <a:gd name="T5" fmla="*/ 289 h 1089"/>
                  <a:gd name="T6" fmla="*/ 34 w 1129"/>
                  <a:gd name="T7" fmla="*/ 667 h 1089"/>
                  <a:gd name="T8" fmla="*/ 56 w 1129"/>
                  <a:gd name="T9" fmla="*/ 695 h 1089"/>
                  <a:gd name="T10" fmla="*/ 673 w 1129"/>
                  <a:gd name="T11" fmla="*/ 756 h 1089"/>
                  <a:gd name="T12" fmla="*/ 751 w 1129"/>
                  <a:gd name="T13" fmla="*/ 845 h 1089"/>
                  <a:gd name="T14" fmla="*/ 723 w 1129"/>
                  <a:gd name="T15" fmla="*/ 906 h 1089"/>
                  <a:gd name="T16" fmla="*/ 0 w 1129"/>
                  <a:gd name="T17" fmla="*/ 923 h 1089"/>
                  <a:gd name="T18" fmla="*/ 17 w 1129"/>
                  <a:gd name="T19" fmla="*/ 961 h 1089"/>
                  <a:gd name="T20" fmla="*/ 67 w 1129"/>
                  <a:gd name="T21" fmla="*/ 984 h 1089"/>
                  <a:gd name="T22" fmla="*/ 73 w 1129"/>
                  <a:gd name="T23" fmla="*/ 1068 h 1089"/>
                  <a:gd name="T24" fmla="*/ 162 w 1129"/>
                  <a:gd name="T25" fmla="*/ 1068 h 1089"/>
                  <a:gd name="T26" fmla="*/ 173 w 1129"/>
                  <a:gd name="T27" fmla="*/ 984 h 1089"/>
                  <a:gd name="T28" fmla="*/ 562 w 1129"/>
                  <a:gd name="T29" fmla="*/ 973 h 1089"/>
                  <a:gd name="T30" fmla="*/ 540 w 1129"/>
                  <a:gd name="T31" fmla="*/ 1051 h 1089"/>
                  <a:gd name="T32" fmla="*/ 623 w 1129"/>
                  <a:gd name="T33" fmla="*/ 1083 h 1089"/>
                  <a:gd name="T34" fmla="*/ 662 w 1129"/>
                  <a:gd name="T35" fmla="*/ 1007 h 1089"/>
                  <a:gd name="T36" fmla="*/ 729 w 1129"/>
                  <a:gd name="T37" fmla="*/ 961 h 1089"/>
                  <a:gd name="T38" fmla="*/ 795 w 1129"/>
                  <a:gd name="T39" fmla="*/ 917 h 1089"/>
                  <a:gd name="T40" fmla="*/ 807 w 1129"/>
                  <a:gd name="T41" fmla="*/ 828 h 1089"/>
                  <a:gd name="T42" fmla="*/ 712 w 1129"/>
                  <a:gd name="T43" fmla="*/ 717 h 1089"/>
                  <a:gd name="T44" fmla="*/ 1117 w 1129"/>
                  <a:gd name="T45" fmla="*/ 50 h 1089"/>
                  <a:gd name="T46" fmla="*/ 162 w 1129"/>
                  <a:gd name="T47" fmla="*/ 1022 h 1089"/>
                  <a:gd name="T48" fmla="*/ 118 w 1129"/>
                  <a:gd name="T49" fmla="*/ 1068 h 1089"/>
                  <a:gd name="T50" fmla="*/ 78 w 1129"/>
                  <a:gd name="T51" fmla="*/ 1022 h 1089"/>
                  <a:gd name="T52" fmla="*/ 118 w 1129"/>
                  <a:gd name="T53" fmla="*/ 978 h 1089"/>
                  <a:gd name="T54" fmla="*/ 162 w 1129"/>
                  <a:gd name="T55" fmla="*/ 1022 h 1089"/>
                  <a:gd name="T56" fmla="*/ 617 w 1129"/>
                  <a:gd name="T57" fmla="*/ 1062 h 1089"/>
                  <a:gd name="T58" fmla="*/ 562 w 1129"/>
                  <a:gd name="T59" fmla="*/ 1039 h 1089"/>
                  <a:gd name="T60" fmla="*/ 584 w 1129"/>
                  <a:gd name="T61" fmla="*/ 984 h 1089"/>
                  <a:gd name="T62" fmla="*/ 640 w 1129"/>
                  <a:gd name="T63" fmla="*/ 1007 h 1089"/>
                  <a:gd name="T64" fmla="*/ 723 w 1129"/>
                  <a:gd name="T65" fmla="*/ 450 h 1089"/>
                  <a:gd name="T66" fmla="*/ 668 w 1129"/>
                  <a:gd name="T67" fmla="*/ 584 h 1089"/>
                  <a:gd name="T68" fmla="*/ 139 w 1129"/>
                  <a:gd name="T69" fmla="*/ 450 h 1089"/>
                  <a:gd name="T70" fmla="*/ 423 w 1129"/>
                  <a:gd name="T71" fmla="*/ 450 h 1089"/>
                  <a:gd name="T72" fmla="*/ 423 w 1129"/>
                  <a:gd name="T73" fmla="*/ 450 h 1089"/>
                  <a:gd name="T74" fmla="*/ 401 w 1129"/>
                  <a:gd name="T75" fmla="*/ 434 h 1089"/>
                  <a:gd name="T76" fmla="*/ 295 w 1129"/>
                  <a:gd name="T77" fmla="*/ 556 h 1089"/>
                  <a:gd name="T78" fmla="*/ 162 w 1129"/>
                  <a:gd name="T79" fmla="*/ 339 h 1089"/>
                  <a:gd name="T80" fmla="*/ 273 w 1129"/>
                  <a:gd name="T81" fmla="*/ 450 h 1089"/>
                  <a:gd name="T82" fmla="*/ 273 w 1129"/>
                  <a:gd name="T83" fmla="*/ 450 h 1089"/>
                  <a:gd name="T84" fmla="*/ 162 w 1129"/>
                  <a:gd name="T85" fmla="*/ 579 h 1089"/>
                  <a:gd name="T86" fmla="*/ 401 w 1129"/>
                  <a:gd name="T87" fmla="*/ 667 h 1089"/>
                  <a:gd name="T88" fmla="*/ 529 w 1129"/>
                  <a:gd name="T89" fmla="*/ 579 h 1089"/>
                  <a:gd name="T90" fmla="*/ 423 w 1129"/>
                  <a:gd name="T91" fmla="*/ 434 h 1089"/>
                  <a:gd name="T92" fmla="*/ 423 w 1129"/>
                  <a:gd name="T93" fmla="*/ 434 h 1089"/>
                  <a:gd name="T94" fmla="*/ 545 w 1129"/>
                  <a:gd name="T95" fmla="*/ 556 h 1089"/>
                  <a:gd name="T96" fmla="*/ 651 w 1129"/>
                  <a:gd name="T97" fmla="*/ 322 h 1089"/>
                  <a:gd name="T98" fmla="*/ 139 w 1129"/>
                  <a:gd name="T99" fmla="*/ 339 h 1089"/>
                  <a:gd name="T100" fmla="*/ 56 w 1129"/>
                  <a:gd name="T101" fmla="*/ 339 h 1089"/>
                  <a:gd name="T102" fmla="*/ 84 w 1129"/>
                  <a:gd name="T103" fmla="*/ 640 h 1089"/>
                  <a:gd name="T104" fmla="*/ 651 w 1129"/>
                  <a:gd name="T105" fmla="*/ 579 h 1089"/>
                  <a:gd name="T106" fmla="*/ 734 w 1129"/>
                  <a:gd name="T107" fmla="*/ 434 h 1089"/>
                  <a:gd name="T108" fmla="*/ 734 w 1129"/>
                  <a:gd name="T109" fmla="*/ 434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9" h="1089">
                    <a:moveTo>
                      <a:pt x="1129" y="23"/>
                    </a:moveTo>
                    <a:lnTo>
                      <a:pt x="1123" y="12"/>
                    </a:lnTo>
                    <a:lnTo>
                      <a:pt x="1117" y="6"/>
                    </a:lnTo>
                    <a:lnTo>
                      <a:pt x="1106" y="0"/>
                    </a:lnTo>
                    <a:lnTo>
                      <a:pt x="1096" y="0"/>
                    </a:lnTo>
                    <a:lnTo>
                      <a:pt x="906" y="39"/>
                    </a:lnTo>
                    <a:lnTo>
                      <a:pt x="895" y="44"/>
                    </a:lnTo>
                    <a:lnTo>
                      <a:pt x="885" y="56"/>
                    </a:lnTo>
                    <a:lnTo>
                      <a:pt x="801" y="261"/>
                    </a:lnTo>
                    <a:lnTo>
                      <a:pt x="795" y="261"/>
                    </a:lnTo>
                    <a:lnTo>
                      <a:pt x="23" y="289"/>
                    </a:lnTo>
                    <a:lnTo>
                      <a:pt x="12" y="289"/>
                    </a:lnTo>
                    <a:lnTo>
                      <a:pt x="6" y="295"/>
                    </a:lnTo>
                    <a:lnTo>
                      <a:pt x="0" y="305"/>
                    </a:lnTo>
                    <a:lnTo>
                      <a:pt x="0" y="317"/>
                    </a:lnTo>
                    <a:lnTo>
                      <a:pt x="34" y="667"/>
                    </a:lnTo>
                    <a:lnTo>
                      <a:pt x="34" y="678"/>
                    </a:lnTo>
                    <a:lnTo>
                      <a:pt x="40" y="684"/>
                    </a:lnTo>
                    <a:lnTo>
                      <a:pt x="46" y="689"/>
                    </a:lnTo>
                    <a:lnTo>
                      <a:pt x="56" y="695"/>
                    </a:lnTo>
                    <a:lnTo>
                      <a:pt x="640" y="745"/>
                    </a:lnTo>
                    <a:lnTo>
                      <a:pt x="645" y="745"/>
                    </a:lnTo>
                    <a:lnTo>
                      <a:pt x="651" y="745"/>
                    </a:lnTo>
                    <a:lnTo>
                      <a:pt x="673" y="756"/>
                    </a:lnTo>
                    <a:lnTo>
                      <a:pt x="701" y="778"/>
                    </a:lnTo>
                    <a:lnTo>
                      <a:pt x="734" y="806"/>
                    </a:lnTo>
                    <a:lnTo>
                      <a:pt x="746" y="822"/>
                    </a:lnTo>
                    <a:lnTo>
                      <a:pt x="751" y="845"/>
                    </a:lnTo>
                    <a:lnTo>
                      <a:pt x="756" y="872"/>
                    </a:lnTo>
                    <a:lnTo>
                      <a:pt x="746" y="889"/>
                    </a:lnTo>
                    <a:lnTo>
                      <a:pt x="734" y="900"/>
                    </a:lnTo>
                    <a:lnTo>
                      <a:pt x="723" y="906"/>
                    </a:lnTo>
                    <a:lnTo>
                      <a:pt x="23" y="906"/>
                    </a:lnTo>
                    <a:lnTo>
                      <a:pt x="17" y="912"/>
                    </a:lnTo>
                    <a:lnTo>
                      <a:pt x="6" y="917"/>
                    </a:lnTo>
                    <a:lnTo>
                      <a:pt x="0" y="923"/>
                    </a:lnTo>
                    <a:lnTo>
                      <a:pt x="0" y="934"/>
                    </a:lnTo>
                    <a:lnTo>
                      <a:pt x="0" y="944"/>
                    </a:lnTo>
                    <a:lnTo>
                      <a:pt x="6" y="956"/>
                    </a:lnTo>
                    <a:lnTo>
                      <a:pt x="17" y="961"/>
                    </a:lnTo>
                    <a:lnTo>
                      <a:pt x="23" y="961"/>
                    </a:lnTo>
                    <a:lnTo>
                      <a:pt x="101" y="961"/>
                    </a:lnTo>
                    <a:lnTo>
                      <a:pt x="84" y="973"/>
                    </a:lnTo>
                    <a:lnTo>
                      <a:pt x="67" y="984"/>
                    </a:lnTo>
                    <a:lnTo>
                      <a:pt x="61" y="1007"/>
                    </a:lnTo>
                    <a:lnTo>
                      <a:pt x="56" y="1022"/>
                    </a:lnTo>
                    <a:lnTo>
                      <a:pt x="61" y="1051"/>
                    </a:lnTo>
                    <a:lnTo>
                      <a:pt x="73" y="1068"/>
                    </a:lnTo>
                    <a:lnTo>
                      <a:pt x="95" y="1083"/>
                    </a:lnTo>
                    <a:lnTo>
                      <a:pt x="118" y="1089"/>
                    </a:lnTo>
                    <a:lnTo>
                      <a:pt x="145" y="1083"/>
                    </a:lnTo>
                    <a:lnTo>
                      <a:pt x="162" y="1068"/>
                    </a:lnTo>
                    <a:lnTo>
                      <a:pt x="179" y="1051"/>
                    </a:lnTo>
                    <a:lnTo>
                      <a:pt x="185" y="1022"/>
                    </a:lnTo>
                    <a:lnTo>
                      <a:pt x="179" y="1007"/>
                    </a:lnTo>
                    <a:lnTo>
                      <a:pt x="173" y="984"/>
                    </a:lnTo>
                    <a:lnTo>
                      <a:pt x="156" y="973"/>
                    </a:lnTo>
                    <a:lnTo>
                      <a:pt x="139" y="961"/>
                    </a:lnTo>
                    <a:lnTo>
                      <a:pt x="579" y="961"/>
                    </a:lnTo>
                    <a:lnTo>
                      <a:pt x="562" y="973"/>
                    </a:lnTo>
                    <a:lnTo>
                      <a:pt x="550" y="984"/>
                    </a:lnTo>
                    <a:lnTo>
                      <a:pt x="540" y="1007"/>
                    </a:lnTo>
                    <a:lnTo>
                      <a:pt x="535" y="1022"/>
                    </a:lnTo>
                    <a:lnTo>
                      <a:pt x="540" y="1051"/>
                    </a:lnTo>
                    <a:lnTo>
                      <a:pt x="556" y="1068"/>
                    </a:lnTo>
                    <a:lnTo>
                      <a:pt x="573" y="1083"/>
                    </a:lnTo>
                    <a:lnTo>
                      <a:pt x="601" y="1089"/>
                    </a:lnTo>
                    <a:lnTo>
                      <a:pt x="623" y="1083"/>
                    </a:lnTo>
                    <a:lnTo>
                      <a:pt x="645" y="1068"/>
                    </a:lnTo>
                    <a:lnTo>
                      <a:pt x="657" y="1051"/>
                    </a:lnTo>
                    <a:lnTo>
                      <a:pt x="662" y="1022"/>
                    </a:lnTo>
                    <a:lnTo>
                      <a:pt x="662" y="1007"/>
                    </a:lnTo>
                    <a:lnTo>
                      <a:pt x="651" y="984"/>
                    </a:lnTo>
                    <a:lnTo>
                      <a:pt x="640" y="973"/>
                    </a:lnTo>
                    <a:lnTo>
                      <a:pt x="617" y="961"/>
                    </a:lnTo>
                    <a:lnTo>
                      <a:pt x="729" y="961"/>
                    </a:lnTo>
                    <a:lnTo>
                      <a:pt x="734" y="961"/>
                    </a:lnTo>
                    <a:lnTo>
                      <a:pt x="767" y="944"/>
                    </a:lnTo>
                    <a:lnTo>
                      <a:pt x="784" y="934"/>
                    </a:lnTo>
                    <a:lnTo>
                      <a:pt x="795" y="917"/>
                    </a:lnTo>
                    <a:lnTo>
                      <a:pt x="807" y="900"/>
                    </a:lnTo>
                    <a:lnTo>
                      <a:pt x="812" y="878"/>
                    </a:lnTo>
                    <a:lnTo>
                      <a:pt x="812" y="856"/>
                    </a:lnTo>
                    <a:lnTo>
                      <a:pt x="807" y="828"/>
                    </a:lnTo>
                    <a:lnTo>
                      <a:pt x="795" y="800"/>
                    </a:lnTo>
                    <a:lnTo>
                      <a:pt x="779" y="778"/>
                    </a:lnTo>
                    <a:lnTo>
                      <a:pt x="746" y="745"/>
                    </a:lnTo>
                    <a:lnTo>
                      <a:pt x="712" y="717"/>
                    </a:lnTo>
                    <a:lnTo>
                      <a:pt x="684" y="695"/>
                    </a:lnTo>
                    <a:lnTo>
                      <a:pt x="934" y="94"/>
                    </a:lnTo>
                    <a:lnTo>
                      <a:pt x="1106" y="56"/>
                    </a:lnTo>
                    <a:lnTo>
                      <a:pt x="1117" y="50"/>
                    </a:lnTo>
                    <a:lnTo>
                      <a:pt x="1123" y="44"/>
                    </a:lnTo>
                    <a:lnTo>
                      <a:pt x="1129" y="33"/>
                    </a:lnTo>
                    <a:lnTo>
                      <a:pt x="1129" y="23"/>
                    </a:lnTo>
                    <a:close/>
                    <a:moveTo>
                      <a:pt x="162" y="1022"/>
                    </a:moveTo>
                    <a:lnTo>
                      <a:pt x="156" y="1039"/>
                    </a:lnTo>
                    <a:lnTo>
                      <a:pt x="151" y="1056"/>
                    </a:lnTo>
                    <a:lnTo>
                      <a:pt x="134" y="1062"/>
                    </a:lnTo>
                    <a:lnTo>
                      <a:pt x="118" y="1068"/>
                    </a:lnTo>
                    <a:lnTo>
                      <a:pt x="101" y="1062"/>
                    </a:lnTo>
                    <a:lnTo>
                      <a:pt x="90" y="1056"/>
                    </a:lnTo>
                    <a:lnTo>
                      <a:pt x="78" y="1039"/>
                    </a:lnTo>
                    <a:lnTo>
                      <a:pt x="78" y="1022"/>
                    </a:lnTo>
                    <a:lnTo>
                      <a:pt x="78" y="1007"/>
                    </a:lnTo>
                    <a:lnTo>
                      <a:pt x="90" y="995"/>
                    </a:lnTo>
                    <a:lnTo>
                      <a:pt x="101" y="984"/>
                    </a:lnTo>
                    <a:lnTo>
                      <a:pt x="118" y="978"/>
                    </a:lnTo>
                    <a:lnTo>
                      <a:pt x="134" y="984"/>
                    </a:lnTo>
                    <a:lnTo>
                      <a:pt x="151" y="995"/>
                    </a:lnTo>
                    <a:lnTo>
                      <a:pt x="156" y="1007"/>
                    </a:lnTo>
                    <a:lnTo>
                      <a:pt x="162" y="1022"/>
                    </a:lnTo>
                    <a:close/>
                    <a:moveTo>
                      <a:pt x="645" y="1022"/>
                    </a:moveTo>
                    <a:lnTo>
                      <a:pt x="640" y="1039"/>
                    </a:lnTo>
                    <a:lnTo>
                      <a:pt x="628" y="1056"/>
                    </a:lnTo>
                    <a:lnTo>
                      <a:pt x="617" y="1062"/>
                    </a:lnTo>
                    <a:lnTo>
                      <a:pt x="601" y="1068"/>
                    </a:lnTo>
                    <a:lnTo>
                      <a:pt x="584" y="1062"/>
                    </a:lnTo>
                    <a:lnTo>
                      <a:pt x="567" y="1056"/>
                    </a:lnTo>
                    <a:lnTo>
                      <a:pt x="562" y="1039"/>
                    </a:lnTo>
                    <a:lnTo>
                      <a:pt x="556" y="1022"/>
                    </a:lnTo>
                    <a:lnTo>
                      <a:pt x="562" y="1007"/>
                    </a:lnTo>
                    <a:lnTo>
                      <a:pt x="567" y="995"/>
                    </a:lnTo>
                    <a:lnTo>
                      <a:pt x="584" y="984"/>
                    </a:lnTo>
                    <a:lnTo>
                      <a:pt x="601" y="978"/>
                    </a:lnTo>
                    <a:lnTo>
                      <a:pt x="617" y="984"/>
                    </a:lnTo>
                    <a:lnTo>
                      <a:pt x="628" y="995"/>
                    </a:lnTo>
                    <a:lnTo>
                      <a:pt x="640" y="1007"/>
                    </a:lnTo>
                    <a:lnTo>
                      <a:pt x="645" y="1022"/>
                    </a:lnTo>
                    <a:close/>
                    <a:moveTo>
                      <a:pt x="668" y="556"/>
                    </a:moveTo>
                    <a:lnTo>
                      <a:pt x="668" y="450"/>
                    </a:lnTo>
                    <a:lnTo>
                      <a:pt x="723" y="450"/>
                    </a:lnTo>
                    <a:lnTo>
                      <a:pt x="684" y="556"/>
                    </a:lnTo>
                    <a:lnTo>
                      <a:pt x="668" y="556"/>
                    </a:lnTo>
                    <a:close/>
                    <a:moveTo>
                      <a:pt x="673" y="579"/>
                    </a:moveTo>
                    <a:lnTo>
                      <a:pt x="668" y="584"/>
                    </a:lnTo>
                    <a:lnTo>
                      <a:pt x="668" y="579"/>
                    </a:lnTo>
                    <a:lnTo>
                      <a:pt x="673" y="579"/>
                    </a:lnTo>
                    <a:close/>
                    <a:moveTo>
                      <a:pt x="67" y="450"/>
                    </a:moveTo>
                    <a:lnTo>
                      <a:pt x="139" y="450"/>
                    </a:lnTo>
                    <a:lnTo>
                      <a:pt x="139" y="556"/>
                    </a:lnTo>
                    <a:lnTo>
                      <a:pt x="78" y="556"/>
                    </a:lnTo>
                    <a:lnTo>
                      <a:pt x="67" y="450"/>
                    </a:lnTo>
                    <a:close/>
                    <a:moveTo>
                      <a:pt x="423" y="450"/>
                    </a:moveTo>
                    <a:lnTo>
                      <a:pt x="529" y="450"/>
                    </a:lnTo>
                    <a:lnTo>
                      <a:pt x="529" y="556"/>
                    </a:lnTo>
                    <a:lnTo>
                      <a:pt x="423" y="556"/>
                    </a:lnTo>
                    <a:lnTo>
                      <a:pt x="423" y="450"/>
                    </a:lnTo>
                    <a:close/>
                    <a:moveTo>
                      <a:pt x="295" y="434"/>
                    </a:moveTo>
                    <a:lnTo>
                      <a:pt x="295" y="333"/>
                    </a:lnTo>
                    <a:lnTo>
                      <a:pt x="401" y="328"/>
                    </a:lnTo>
                    <a:lnTo>
                      <a:pt x="401" y="434"/>
                    </a:lnTo>
                    <a:lnTo>
                      <a:pt x="295" y="434"/>
                    </a:lnTo>
                    <a:close/>
                    <a:moveTo>
                      <a:pt x="401" y="450"/>
                    </a:moveTo>
                    <a:lnTo>
                      <a:pt x="401" y="556"/>
                    </a:lnTo>
                    <a:lnTo>
                      <a:pt x="295" y="556"/>
                    </a:lnTo>
                    <a:lnTo>
                      <a:pt x="295" y="450"/>
                    </a:lnTo>
                    <a:lnTo>
                      <a:pt x="401" y="450"/>
                    </a:lnTo>
                    <a:close/>
                    <a:moveTo>
                      <a:pt x="162" y="434"/>
                    </a:moveTo>
                    <a:lnTo>
                      <a:pt x="162" y="339"/>
                    </a:lnTo>
                    <a:lnTo>
                      <a:pt x="273" y="333"/>
                    </a:lnTo>
                    <a:lnTo>
                      <a:pt x="273" y="434"/>
                    </a:lnTo>
                    <a:lnTo>
                      <a:pt x="162" y="434"/>
                    </a:lnTo>
                    <a:close/>
                    <a:moveTo>
                      <a:pt x="273" y="450"/>
                    </a:moveTo>
                    <a:lnTo>
                      <a:pt x="273" y="556"/>
                    </a:lnTo>
                    <a:lnTo>
                      <a:pt x="162" y="556"/>
                    </a:lnTo>
                    <a:lnTo>
                      <a:pt x="162" y="450"/>
                    </a:lnTo>
                    <a:lnTo>
                      <a:pt x="273" y="450"/>
                    </a:lnTo>
                    <a:close/>
                    <a:moveTo>
                      <a:pt x="273" y="579"/>
                    </a:moveTo>
                    <a:lnTo>
                      <a:pt x="273" y="655"/>
                    </a:lnTo>
                    <a:lnTo>
                      <a:pt x="162" y="645"/>
                    </a:lnTo>
                    <a:lnTo>
                      <a:pt x="162" y="579"/>
                    </a:lnTo>
                    <a:lnTo>
                      <a:pt x="273" y="579"/>
                    </a:lnTo>
                    <a:close/>
                    <a:moveTo>
                      <a:pt x="295" y="579"/>
                    </a:moveTo>
                    <a:lnTo>
                      <a:pt x="401" y="579"/>
                    </a:lnTo>
                    <a:lnTo>
                      <a:pt x="401" y="667"/>
                    </a:lnTo>
                    <a:lnTo>
                      <a:pt x="295" y="655"/>
                    </a:lnTo>
                    <a:lnTo>
                      <a:pt x="295" y="579"/>
                    </a:lnTo>
                    <a:close/>
                    <a:moveTo>
                      <a:pt x="423" y="579"/>
                    </a:moveTo>
                    <a:lnTo>
                      <a:pt x="529" y="579"/>
                    </a:lnTo>
                    <a:lnTo>
                      <a:pt x="529" y="678"/>
                    </a:lnTo>
                    <a:lnTo>
                      <a:pt x="423" y="667"/>
                    </a:lnTo>
                    <a:lnTo>
                      <a:pt x="423" y="579"/>
                    </a:lnTo>
                    <a:close/>
                    <a:moveTo>
                      <a:pt x="423" y="434"/>
                    </a:moveTo>
                    <a:lnTo>
                      <a:pt x="423" y="328"/>
                    </a:lnTo>
                    <a:lnTo>
                      <a:pt x="529" y="322"/>
                    </a:lnTo>
                    <a:lnTo>
                      <a:pt x="529" y="434"/>
                    </a:lnTo>
                    <a:lnTo>
                      <a:pt x="423" y="434"/>
                    </a:lnTo>
                    <a:close/>
                    <a:moveTo>
                      <a:pt x="545" y="450"/>
                    </a:moveTo>
                    <a:lnTo>
                      <a:pt x="651" y="450"/>
                    </a:lnTo>
                    <a:lnTo>
                      <a:pt x="651" y="556"/>
                    </a:lnTo>
                    <a:lnTo>
                      <a:pt x="545" y="556"/>
                    </a:lnTo>
                    <a:lnTo>
                      <a:pt x="545" y="450"/>
                    </a:lnTo>
                    <a:close/>
                    <a:moveTo>
                      <a:pt x="545" y="434"/>
                    </a:moveTo>
                    <a:lnTo>
                      <a:pt x="545" y="322"/>
                    </a:lnTo>
                    <a:lnTo>
                      <a:pt x="651" y="322"/>
                    </a:lnTo>
                    <a:lnTo>
                      <a:pt x="651" y="434"/>
                    </a:lnTo>
                    <a:lnTo>
                      <a:pt x="545" y="434"/>
                    </a:lnTo>
                    <a:close/>
                    <a:moveTo>
                      <a:pt x="56" y="339"/>
                    </a:moveTo>
                    <a:lnTo>
                      <a:pt x="139" y="339"/>
                    </a:lnTo>
                    <a:lnTo>
                      <a:pt x="139" y="434"/>
                    </a:lnTo>
                    <a:lnTo>
                      <a:pt x="67" y="434"/>
                    </a:lnTo>
                    <a:lnTo>
                      <a:pt x="67" y="450"/>
                    </a:lnTo>
                    <a:lnTo>
                      <a:pt x="56" y="339"/>
                    </a:lnTo>
                    <a:close/>
                    <a:moveTo>
                      <a:pt x="78" y="579"/>
                    </a:moveTo>
                    <a:lnTo>
                      <a:pt x="139" y="579"/>
                    </a:lnTo>
                    <a:lnTo>
                      <a:pt x="139" y="645"/>
                    </a:lnTo>
                    <a:lnTo>
                      <a:pt x="84" y="640"/>
                    </a:lnTo>
                    <a:lnTo>
                      <a:pt x="78" y="579"/>
                    </a:lnTo>
                    <a:close/>
                    <a:moveTo>
                      <a:pt x="545" y="678"/>
                    </a:moveTo>
                    <a:lnTo>
                      <a:pt x="545" y="579"/>
                    </a:lnTo>
                    <a:lnTo>
                      <a:pt x="651" y="579"/>
                    </a:lnTo>
                    <a:lnTo>
                      <a:pt x="651" y="634"/>
                    </a:lnTo>
                    <a:lnTo>
                      <a:pt x="628" y="689"/>
                    </a:lnTo>
                    <a:lnTo>
                      <a:pt x="545" y="678"/>
                    </a:lnTo>
                    <a:close/>
                    <a:moveTo>
                      <a:pt x="734" y="434"/>
                    </a:moveTo>
                    <a:lnTo>
                      <a:pt x="668" y="434"/>
                    </a:lnTo>
                    <a:lnTo>
                      <a:pt x="668" y="322"/>
                    </a:lnTo>
                    <a:lnTo>
                      <a:pt x="779" y="317"/>
                    </a:lnTo>
                    <a:lnTo>
                      <a:pt x="734" y="434"/>
                    </a:lnTo>
                    <a:close/>
                  </a:path>
                </a:pathLst>
              </a:custGeom>
              <a:pattFill prst="ltUpDiag">
                <a:fgClr>
                  <a:schemeClr val="accent1">
                    <a:lumMod val="50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1" name="Freeform 69"/>
              <p:cNvSpPr/>
              <p:nvPr/>
            </p:nvSpPr>
            <p:spPr bwMode="auto">
              <a:xfrm>
                <a:off x="1709738" y="704850"/>
                <a:ext cx="12700" cy="11113"/>
              </a:xfrm>
              <a:custGeom>
                <a:avLst/>
                <a:gdLst>
                  <a:gd name="T0" fmla="*/ 0 w 38"/>
                  <a:gd name="T1" fmla="*/ 15 h 38"/>
                  <a:gd name="T2" fmla="*/ 6 w 38"/>
                  <a:gd name="T3" fmla="*/ 32 h 38"/>
                  <a:gd name="T4" fmla="*/ 17 w 38"/>
                  <a:gd name="T5" fmla="*/ 38 h 38"/>
                  <a:gd name="T6" fmla="*/ 33 w 38"/>
                  <a:gd name="T7" fmla="*/ 32 h 38"/>
                  <a:gd name="T8" fmla="*/ 38 w 38"/>
                  <a:gd name="T9" fmla="*/ 15 h 38"/>
                  <a:gd name="T10" fmla="*/ 33 w 38"/>
                  <a:gd name="T11" fmla="*/ 4 h 38"/>
                  <a:gd name="T12" fmla="*/ 17 w 38"/>
                  <a:gd name="T13" fmla="*/ 0 h 38"/>
                  <a:gd name="T14" fmla="*/ 6 w 38"/>
                  <a:gd name="T15" fmla="*/ 4 h 38"/>
                  <a:gd name="T16" fmla="*/ 0 w 38"/>
                  <a:gd name="T17"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0" y="15"/>
                    </a:moveTo>
                    <a:lnTo>
                      <a:pt x="6" y="32"/>
                    </a:lnTo>
                    <a:lnTo>
                      <a:pt x="17" y="38"/>
                    </a:lnTo>
                    <a:lnTo>
                      <a:pt x="33" y="32"/>
                    </a:lnTo>
                    <a:lnTo>
                      <a:pt x="38" y="15"/>
                    </a:lnTo>
                    <a:lnTo>
                      <a:pt x="33" y="4"/>
                    </a:lnTo>
                    <a:lnTo>
                      <a:pt x="17" y="0"/>
                    </a:lnTo>
                    <a:lnTo>
                      <a:pt x="6" y="4"/>
                    </a:lnTo>
                    <a:lnTo>
                      <a:pt x="0" y="15"/>
                    </a:lnTo>
                    <a:close/>
                  </a:path>
                </a:pathLst>
              </a:custGeom>
              <a:pattFill prst="ltUpDiag">
                <a:fgClr>
                  <a:schemeClr val="accent1">
                    <a:lumMod val="50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2" name="Freeform 70"/>
              <p:cNvSpPr/>
              <p:nvPr/>
            </p:nvSpPr>
            <p:spPr bwMode="auto">
              <a:xfrm>
                <a:off x="1862138" y="704850"/>
                <a:ext cx="11113" cy="11113"/>
              </a:xfrm>
              <a:custGeom>
                <a:avLst/>
                <a:gdLst>
                  <a:gd name="T0" fmla="*/ 0 w 38"/>
                  <a:gd name="T1" fmla="*/ 15 h 38"/>
                  <a:gd name="T2" fmla="*/ 5 w 38"/>
                  <a:gd name="T3" fmla="*/ 32 h 38"/>
                  <a:gd name="T4" fmla="*/ 22 w 38"/>
                  <a:gd name="T5" fmla="*/ 38 h 38"/>
                  <a:gd name="T6" fmla="*/ 34 w 38"/>
                  <a:gd name="T7" fmla="*/ 32 h 38"/>
                  <a:gd name="T8" fmla="*/ 38 w 38"/>
                  <a:gd name="T9" fmla="*/ 15 h 38"/>
                  <a:gd name="T10" fmla="*/ 34 w 38"/>
                  <a:gd name="T11" fmla="*/ 4 h 38"/>
                  <a:gd name="T12" fmla="*/ 22 w 38"/>
                  <a:gd name="T13" fmla="*/ 0 h 38"/>
                  <a:gd name="T14" fmla="*/ 5 w 38"/>
                  <a:gd name="T15" fmla="*/ 4 h 38"/>
                  <a:gd name="T16" fmla="*/ 0 w 38"/>
                  <a:gd name="T17"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0" y="15"/>
                    </a:moveTo>
                    <a:lnTo>
                      <a:pt x="5" y="32"/>
                    </a:lnTo>
                    <a:lnTo>
                      <a:pt x="22" y="38"/>
                    </a:lnTo>
                    <a:lnTo>
                      <a:pt x="34" y="32"/>
                    </a:lnTo>
                    <a:lnTo>
                      <a:pt x="38" y="15"/>
                    </a:lnTo>
                    <a:lnTo>
                      <a:pt x="34" y="4"/>
                    </a:lnTo>
                    <a:lnTo>
                      <a:pt x="22" y="0"/>
                    </a:lnTo>
                    <a:lnTo>
                      <a:pt x="5" y="4"/>
                    </a:lnTo>
                    <a:lnTo>
                      <a:pt x="0" y="15"/>
                    </a:lnTo>
                    <a:close/>
                  </a:path>
                </a:pathLst>
              </a:custGeom>
              <a:pattFill prst="ltUpDiag">
                <a:fgClr>
                  <a:schemeClr val="accent1">
                    <a:lumMod val="50000"/>
                  </a:schemeClr>
                </a:fgClr>
                <a:bgClr>
                  <a:schemeClr val="tx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grpSp>
        <p:grpSp>
          <p:nvGrpSpPr>
            <p:cNvPr id="21" name="Group 154"/>
            <p:cNvGrpSpPr/>
            <p:nvPr/>
          </p:nvGrpSpPr>
          <p:grpSpPr>
            <a:xfrm flipH="1">
              <a:off x="5352876" y="2401184"/>
              <a:ext cx="774977" cy="908603"/>
              <a:chOff x="3381828" y="3133730"/>
              <a:chExt cx="928218" cy="1088271"/>
            </a:xfrm>
          </p:grpSpPr>
          <p:sp>
            <p:nvSpPr>
              <p:cNvPr id="22" name="Freeform 186"/>
              <p:cNvSpPr/>
              <p:nvPr>
                <p:custDataLst>
                  <p:tags r:id="rId67"/>
                </p:custDataLst>
              </p:nvPr>
            </p:nvSpPr>
            <p:spPr bwMode="auto">
              <a:xfrm>
                <a:off x="3632469" y="3176960"/>
                <a:ext cx="677577" cy="1045041"/>
              </a:xfrm>
              <a:custGeom>
                <a:avLst/>
                <a:gdLst>
                  <a:gd name="T0" fmla="*/ 636 w 638"/>
                  <a:gd name="T1" fmla="*/ 438 h 984"/>
                  <a:gd name="T2" fmla="*/ 636 w 638"/>
                  <a:gd name="T3" fmla="*/ 394 h 984"/>
                  <a:gd name="T4" fmla="*/ 630 w 638"/>
                  <a:gd name="T5" fmla="*/ 320 h 984"/>
                  <a:gd name="T6" fmla="*/ 620 w 638"/>
                  <a:gd name="T7" fmla="*/ 280 h 984"/>
                  <a:gd name="T8" fmla="*/ 610 w 638"/>
                  <a:gd name="T9" fmla="*/ 244 h 984"/>
                  <a:gd name="T10" fmla="*/ 602 w 638"/>
                  <a:gd name="T11" fmla="*/ 222 h 984"/>
                  <a:gd name="T12" fmla="*/ 590 w 638"/>
                  <a:gd name="T13" fmla="*/ 198 h 984"/>
                  <a:gd name="T14" fmla="*/ 582 w 638"/>
                  <a:gd name="T15" fmla="*/ 182 h 984"/>
                  <a:gd name="T16" fmla="*/ 570 w 638"/>
                  <a:gd name="T17" fmla="*/ 162 h 984"/>
                  <a:gd name="T18" fmla="*/ 562 w 638"/>
                  <a:gd name="T19" fmla="*/ 150 h 984"/>
                  <a:gd name="T20" fmla="*/ 550 w 638"/>
                  <a:gd name="T21" fmla="*/ 134 h 984"/>
                  <a:gd name="T22" fmla="*/ 540 w 638"/>
                  <a:gd name="T23" fmla="*/ 122 h 984"/>
                  <a:gd name="T24" fmla="*/ 528 w 638"/>
                  <a:gd name="T25" fmla="*/ 108 h 984"/>
                  <a:gd name="T26" fmla="*/ 518 w 638"/>
                  <a:gd name="T27" fmla="*/ 98 h 984"/>
                  <a:gd name="T28" fmla="*/ 504 w 638"/>
                  <a:gd name="T29" fmla="*/ 88 h 984"/>
                  <a:gd name="T30" fmla="*/ 494 w 638"/>
                  <a:gd name="T31" fmla="*/ 78 h 984"/>
                  <a:gd name="T32" fmla="*/ 478 w 638"/>
                  <a:gd name="T33" fmla="*/ 68 h 984"/>
                  <a:gd name="T34" fmla="*/ 468 w 638"/>
                  <a:gd name="T35" fmla="*/ 62 h 984"/>
                  <a:gd name="T36" fmla="*/ 450 w 638"/>
                  <a:gd name="T37" fmla="*/ 52 h 984"/>
                  <a:gd name="T38" fmla="*/ 338 w 638"/>
                  <a:gd name="T39" fmla="*/ 0 h 984"/>
                  <a:gd name="T40" fmla="*/ 344 w 638"/>
                  <a:gd name="T41" fmla="*/ 4 h 984"/>
                  <a:gd name="T42" fmla="*/ 360 w 638"/>
                  <a:gd name="T43" fmla="*/ 12 h 984"/>
                  <a:gd name="T44" fmla="*/ 372 w 638"/>
                  <a:gd name="T45" fmla="*/ 20 h 984"/>
                  <a:gd name="T46" fmla="*/ 386 w 638"/>
                  <a:gd name="T47" fmla="*/ 30 h 984"/>
                  <a:gd name="T48" fmla="*/ 398 w 638"/>
                  <a:gd name="T49" fmla="*/ 38 h 984"/>
                  <a:gd name="T50" fmla="*/ 410 w 638"/>
                  <a:gd name="T51" fmla="*/ 50 h 984"/>
                  <a:gd name="T52" fmla="*/ 486 w 638"/>
                  <a:gd name="T53" fmla="*/ 178 h 984"/>
                  <a:gd name="T54" fmla="*/ 468 w 638"/>
                  <a:gd name="T55" fmla="*/ 344 h 984"/>
                  <a:gd name="T56" fmla="*/ 294 w 638"/>
                  <a:gd name="T57" fmla="*/ 600 h 984"/>
                  <a:gd name="T58" fmla="*/ 108 w 638"/>
                  <a:gd name="T59" fmla="*/ 770 h 984"/>
                  <a:gd name="T60" fmla="*/ 124 w 638"/>
                  <a:gd name="T61" fmla="*/ 910 h 984"/>
                  <a:gd name="T62" fmla="*/ 74 w 638"/>
                  <a:gd name="T63" fmla="*/ 952 h 984"/>
                  <a:gd name="T64" fmla="*/ 138 w 638"/>
                  <a:gd name="T65" fmla="*/ 980 h 984"/>
                  <a:gd name="T66" fmla="*/ 266 w 638"/>
                  <a:gd name="T67" fmla="*/ 972 h 984"/>
                  <a:gd name="T68" fmla="*/ 336 w 638"/>
                  <a:gd name="T69" fmla="*/ 944 h 984"/>
                  <a:gd name="T70" fmla="*/ 360 w 638"/>
                  <a:gd name="T71" fmla="*/ 932 h 984"/>
                  <a:gd name="T72" fmla="*/ 388 w 638"/>
                  <a:gd name="T73" fmla="*/ 914 h 984"/>
                  <a:gd name="T74" fmla="*/ 406 w 638"/>
                  <a:gd name="T75" fmla="*/ 900 h 984"/>
                  <a:gd name="T76" fmla="*/ 426 w 638"/>
                  <a:gd name="T77" fmla="*/ 884 h 984"/>
                  <a:gd name="T78" fmla="*/ 440 w 638"/>
                  <a:gd name="T79" fmla="*/ 870 h 984"/>
                  <a:gd name="T80" fmla="*/ 458 w 638"/>
                  <a:gd name="T81" fmla="*/ 854 h 984"/>
                  <a:gd name="T82" fmla="*/ 472 w 638"/>
                  <a:gd name="T83" fmla="*/ 840 h 984"/>
                  <a:gd name="T84" fmla="*/ 488 w 638"/>
                  <a:gd name="T85" fmla="*/ 822 h 984"/>
                  <a:gd name="T86" fmla="*/ 498 w 638"/>
                  <a:gd name="T87" fmla="*/ 808 h 984"/>
                  <a:gd name="T88" fmla="*/ 512 w 638"/>
                  <a:gd name="T89" fmla="*/ 790 h 984"/>
                  <a:gd name="T90" fmla="*/ 524 w 638"/>
                  <a:gd name="T91" fmla="*/ 774 h 984"/>
                  <a:gd name="T92" fmla="*/ 536 w 638"/>
                  <a:gd name="T93" fmla="*/ 754 h 984"/>
                  <a:gd name="T94" fmla="*/ 546 w 638"/>
                  <a:gd name="T95" fmla="*/ 740 h 984"/>
                  <a:gd name="T96" fmla="*/ 558 w 638"/>
                  <a:gd name="T97" fmla="*/ 718 h 984"/>
                  <a:gd name="T98" fmla="*/ 568 w 638"/>
                  <a:gd name="T99" fmla="*/ 700 h 984"/>
                  <a:gd name="T100" fmla="*/ 580 w 638"/>
                  <a:gd name="T101" fmla="*/ 676 h 984"/>
                  <a:gd name="T102" fmla="*/ 588 w 638"/>
                  <a:gd name="T103" fmla="*/ 656 h 984"/>
                  <a:gd name="T104" fmla="*/ 598 w 638"/>
                  <a:gd name="T105" fmla="*/ 630 h 984"/>
                  <a:gd name="T106" fmla="*/ 602 w 638"/>
                  <a:gd name="T107" fmla="*/ 614 h 984"/>
                  <a:gd name="T108" fmla="*/ 612 w 638"/>
                  <a:gd name="T109" fmla="*/ 584 h 984"/>
                  <a:gd name="T110" fmla="*/ 620 w 638"/>
                  <a:gd name="T111" fmla="*/ 556 h 984"/>
                  <a:gd name="T112" fmla="*/ 630 w 638"/>
                  <a:gd name="T113" fmla="*/ 500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8" h="984">
                    <a:moveTo>
                      <a:pt x="630" y="500"/>
                    </a:moveTo>
                    <a:lnTo>
                      <a:pt x="630" y="500"/>
                    </a:lnTo>
                    <a:lnTo>
                      <a:pt x="634" y="480"/>
                    </a:lnTo>
                    <a:lnTo>
                      <a:pt x="634" y="480"/>
                    </a:lnTo>
                    <a:lnTo>
                      <a:pt x="636" y="458"/>
                    </a:lnTo>
                    <a:lnTo>
                      <a:pt x="636" y="458"/>
                    </a:lnTo>
                    <a:lnTo>
                      <a:pt x="636" y="438"/>
                    </a:lnTo>
                    <a:lnTo>
                      <a:pt x="636" y="438"/>
                    </a:lnTo>
                    <a:lnTo>
                      <a:pt x="636" y="424"/>
                    </a:lnTo>
                    <a:lnTo>
                      <a:pt x="636" y="424"/>
                    </a:lnTo>
                    <a:lnTo>
                      <a:pt x="638" y="408"/>
                    </a:lnTo>
                    <a:lnTo>
                      <a:pt x="638" y="408"/>
                    </a:lnTo>
                    <a:lnTo>
                      <a:pt x="636" y="394"/>
                    </a:lnTo>
                    <a:lnTo>
                      <a:pt x="636" y="394"/>
                    </a:lnTo>
                    <a:lnTo>
                      <a:pt x="636" y="382"/>
                    </a:lnTo>
                    <a:lnTo>
                      <a:pt x="636" y="382"/>
                    </a:lnTo>
                    <a:lnTo>
                      <a:pt x="634" y="360"/>
                    </a:lnTo>
                    <a:lnTo>
                      <a:pt x="634" y="360"/>
                    </a:lnTo>
                    <a:lnTo>
                      <a:pt x="632" y="340"/>
                    </a:lnTo>
                    <a:lnTo>
                      <a:pt x="632" y="340"/>
                    </a:lnTo>
                    <a:lnTo>
                      <a:pt x="630" y="320"/>
                    </a:lnTo>
                    <a:lnTo>
                      <a:pt x="630" y="320"/>
                    </a:lnTo>
                    <a:lnTo>
                      <a:pt x="626" y="302"/>
                    </a:lnTo>
                    <a:lnTo>
                      <a:pt x="626" y="302"/>
                    </a:lnTo>
                    <a:lnTo>
                      <a:pt x="624" y="290"/>
                    </a:lnTo>
                    <a:lnTo>
                      <a:pt x="624" y="290"/>
                    </a:lnTo>
                    <a:lnTo>
                      <a:pt x="620" y="280"/>
                    </a:lnTo>
                    <a:lnTo>
                      <a:pt x="620" y="280"/>
                    </a:lnTo>
                    <a:lnTo>
                      <a:pt x="618" y="270"/>
                    </a:lnTo>
                    <a:lnTo>
                      <a:pt x="618" y="270"/>
                    </a:lnTo>
                    <a:lnTo>
                      <a:pt x="616" y="260"/>
                    </a:lnTo>
                    <a:lnTo>
                      <a:pt x="616" y="260"/>
                    </a:lnTo>
                    <a:lnTo>
                      <a:pt x="612" y="252"/>
                    </a:lnTo>
                    <a:lnTo>
                      <a:pt x="612" y="252"/>
                    </a:lnTo>
                    <a:lnTo>
                      <a:pt x="610" y="244"/>
                    </a:lnTo>
                    <a:lnTo>
                      <a:pt x="610" y="244"/>
                    </a:lnTo>
                    <a:lnTo>
                      <a:pt x="608" y="236"/>
                    </a:lnTo>
                    <a:lnTo>
                      <a:pt x="608" y="236"/>
                    </a:lnTo>
                    <a:lnTo>
                      <a:pt x="604" y="230"/>
                    </a:lnTo>
                    <a:lnTo>
                      <a:pt x="604" y="230"/>
                    </a:lnTo>
                    <a:lnTo>
                      <a:pt x="602" y="222"/>
                    </a:lnTo>
                    <a:lnTo>
                      <a:pt x="602" y="222"/>
                    </a:lnTo>
                    <a:lnTo>
                      <a:pt x="598" y="216"/>
                    </a:lnTo>
                    <a:lnTo>
                      <a:pt x="598" y="216"/>
                    </a:lnTo>
                    <a:lnTo>
                      <a:pt x="596" y="210"/>
                    </a:lnTo>
                    <a:lnTo>
                      <a:pt x="596" y="210"/>
                    </a:lnTo>
                    <a:lnTo>
                      <a:pt x="594" y="204"/>
                    </a:lnTo>
                    <a:lnTo>
                      <a:pt x="594" y="204"/>
                    </a:lnTo>
                    <a:lnTo>
                      <a:pt x="590" y="198"/>
                    </a:lnTo>
                    <a:lnTo>
                      <a:pt x="590" y="198"/>
                    </a:lnTo>
                    <a:lnTo>
                      <a:pt x="588" y="192"/>
                    </a:lnTo>
                    <a:lnTo>
                      <a:pt x="588" y="192"/>
                    </a:lnTo>
                    <a:lnTo>
                      <a:pt x="584" y="188"/>
                    </a:lnTo>
                    <a:lnTo>
                      <a:pt x="584" y="188"/>
                    </a:lnTo>
                    <a:lnTo>
                      <a:pt x="582" y="182"/>
                    </a:lnTo>
                    <a:lnTo>
                      <a:pt x="582" y="182"/>
                    </a:lnTo>
                    <a:lnTo>
                      <a:pt x="580" y="176"/>
                    </a:lnTo>
                    <a:lnTo>
                      <a:pt x="580" y="176"/>
                    </a:lnTo>
                    <a:lnTo>
                      <a:pt x="576" y="172"/>
                    </a:lnTo>
                    <a:lnTo>
                      <a:pt x="576" y="172"/>
                    </a:lnTo>
                    <a:lnTo>
                      <a:pt x="574" y="168"/>
                    </a:lnTo>
                    <a:lnTo>
                      <a:pt x="574" y="168"/>
                    </a:lnTo>
                    <a:lnTo>
                      <a:pt x="570" y="162"/>
                    </a:lnTo>
                    <a:lnTo>
                      <a:pt x="570" y="162"/>
                    </a:lnTo>
                    <a:lnTo>
                      <a:pt x="568" y="158"/>
                    </a:lnTo>
                    <a:lnTo>
                      <a:pt x="568" y="158"/>
                    </a:lnTo>
                    <a:lnTo>
                      <a:pt x="564" y="154"/>
                    </a:lnTo>
                    <a:lnTo>
                      <a:pt x="564" y="154"/>
                    </a:lnTo>
                    <a:lnTo>
                      <a:pt x="562" y="150"/>
                    </a:lnTo>
                    <a:lnTo>
                      <a:pt x="562" y="150"/>
                    </a:lnTo>
                    <a:lnTo>
                      <a:pt x="558" y="146"/>
                    </a:lnTo>
                    <a:lnTo>
                      <a:pt x="558" y="146"/>
                    </a:lnTo>
                    <a:lnTo>
                      <a:pt x="556" y="142"/>
                    </a:lnTo>
                    <a:lnTo>
                      <a:pt x="556" y="142"/>
                    </a:lnTo>
                    <a:lnTo>
                      <a:pt x="552" y="138"/>
                    </a:lnTo>
                    <a:lnTo>
                      <a:pt x="552" y="138"/>
                    </a:lnTo>
                    <a:lnTo>
                      <a:pt x="550" y="134"/>
                    </a:lnTo>
                    <a:lnTo>
                      <a:pt x="550" y="134"/>
                    </a:lnTo>
                    <a:lnTo>
                      <a:pt x="546" y="130"/>
                    </a:lnTo>
                    <a:lnTo>
                      <a:pt x="546" y="130"/>
                    </a:lnTo>
                    <a:lnTo>
                      <a:pt x="544" y="126"/>
                    </a:lnTo>
                    <a:lnTo>
                      <a:pt x="544" y="126"/>
                    </a:lnTo>
                    <a:lnTo>
                      <a:pt x="540" y="122"/>
                    </a:lnTo>
                    <a:lnTo>
                      <a:pt x="540" y="122"/>
                    </a:lnTo>
                    <a:lnTo>
                      <a:pt x="538" y="118"/>
                    </a:lnTo>
                    <a:lnTo>
                      <a:pt x="538" y="118"/>
                    </a:lnTo>
                    <a:lnTo>
                      <a:pt x="534" y="116"/>
                    </a:lnTo>
                    <a:lnTo>
                      <a:pt x="534" y="116"/>
                    </a:lnTo>
                    <a:lnTo>
                      <a:pt x="530" y="112"/>
                    </a:lnTo>
                    <a:lnTo>
                      <a:pt x="530" y="112"/>
                    </a:lnTo>
                    <a:lnTo>
                      <a:pt x="528" y="108"/>
                    </a:lnTo>
                    <a:lnTo>
                      <a:pt x="528" y="108"/>
                    </a:lnTo>
                    <a:lnTo>
                      <a:pt x="524" y="106"/>
                    </a:lnTo>
                    <a:lnTo>
                      <a:pt x="524" y="106"/>
                    </a:lnTo>
                    <a:lnTo>
                      <a:pt x="522" y="102"/>
                    </a:lnTo>
                    <a:lnTo>
                      <a:pt x="522" y="102"/>
                    </a:lnTo>
                    <a:lnTo>
                      <a:pt x="518" y="98"/>
                    </a:lnTo>
                    <a:lnTo>
                      <a:pt x="518" y="98"/>
                    </a:lnTo>
                    <a:lnTo>
                      <a:pt x="514" y="96"/>
                    </a:lnTo>
                    <a:lnTo>
                      <a:pt x="514" y="96"/>
                    </a:lnTo>
                    <a:lnTo>
                      <a:pt x="512" y="92"/>
                    </a:lnTo>
                    <a:lnTo>
                      <a:pt x="512" y="92"/>
                    </a:lnTo>
                    <a:lnTo>
                      <a:pt x="508" y="90"/>
                    </a:lnTo>
                    <a:lnTo>
                      <a:pt x="508" y="90"/>
                    </a:lnTo>
                    <a:lnTo>
                      <a:pt x="504" y="88"/>
                    </a:lnTo>
                    <a:lnTo>
                      <a:pt x="504" y="88"/>
                    </a:lnTo>
                    <a:lnTo>
                      <a:pt x="500" y="84"/>
                    </a:lnTo>
                    <a:lnTo>
                      <a:pt x="500" y="84"/>
                    </a:lnTo>
                    <a:lnTo>
                      <a:pt x="498" y="82"/>
                    </a:lnTo>
                    <a:lnTo>
                      <a:pt x="498" y="82"/>
                    </a:lnTo>
                    <a:lnTo>
                      <a:pt x="494" y="78"/>
                    </a:lnTo>
                    <a:lnTo>
                      <a:pt x="494" y="78"/>
                    </a:lnTo>
                    <a:lnTo>
                      <a:pt x="490" y="76"/>
                    </a:lnTo>
                    <a:lnTo>
                      <a:pt x="490" y="76"/>
                    </a:lnTo>
                    <a:lnTo>
                      <a:pt x="486" y="74"/>
                    </a:lnTo>
                    <a:lnTo>
                      <a:pt x="486" y="74"/>
                    </a:lnTo>
                    <a:lnTo>
                      <a:pt x="482" y="72"/>
                    </a:lnTo>
                    <a:lnTo>
                      <a:pt x="482" y="72"/>
                    </a:lnTo>
                    <a:lnTo>
                      <a:pt x="478" y="68"/>
                    </a:lnTo>
                    <a:lnTo>
                      <a:pt x="478" y="68"/>
                    </a:lnTo>
                    <a:lnTo>
                      <a:pt x="474" y="66"/>
                    </a:lnTo>
                    <a:lnTo>
                      <a:pt x="474" y="66"/>
                    </a:lnTo>
                    <a:lnTo>
                      <a:pt x="472" y="64"/>
                    </a:lnTo>
                    <a:lnTo>
                      <a:pt x="472" y="64"/>
                    </a:lnTo>
                    <a:lnTo>
                      <a:pt x="468" y="62"/>
                    </a:lnTo>
                    <a:lnTo>
                      <a:pt x="468" y="62"/>
                    </a:lnTo>
                    <a:lnTo>
                      <a:pt x="464" y="60"/>
                    </a:lnTo>
                    <a:lnTo>
                      <a:pt x="464" y="60"/>
                    </a:lnTo>
                    <a:lnTo>
                      <a:pt x="458" y="56"/>
                    </a:lnTo>
                    <a:lnTo>
                      <a:pt x="458" y="56"/>
                    </a:lnTo>
                    <a:lnTo>
                      <a:pt x="454" y="54"/>
                    </a:lnTo>
                    <a:lnTo>
                      <a:pt x="454" y="54"/>
                    </a:lnTo>
                    <a:lnTo>
                      <a:pt x="450" y="52"/>
                    </a:lnTo>
                    <a:lnTo>
                      <a:pt x="450" y="52"/>
                    </a:lnTo>
                    <a:lnTo>
                      <a:pt x="446" y="50"/>
                    </a:lnTo>
                    <a:lnTo>
                      <a:pt x="446" y="50"/>
                    </a:lnTo>
                    <a:lnTo>
                      <a:pt x="446" y="50"/>
                    </a:lnTo>
                    <a:lnTo>
                      <a:pt x="446" y="50"/>
                    </a:lnTo>
                    <a:lnTo>
                      <a:pt x="446" y="50"/>
                    </a:lnTo>
                    <a:lnTo>
                      <a:pt x="338" y="0"/>
                    </a:lnTo>
                    <a:lnTo>
                      <a:pt x="338" y="0"/>
                    </a:lnTo>
                    <a:lnTo>
                      <a:pt x="338" y="0"/>
                    </a:lnTo>
                    <a:lnTo>
                      <a:pt x="338" y="0"/>
                    </a:lnTo>
                    <a:lnTo>
                      <a:pt x="338" y="2"/>
                    </a:lnTo>
                    <a:lnTo>
                      <a:pt x="338" y="2"/>
                    </a:lnTo>
                    <a:lnTo>
                      <a:pt x="344" y="4"/>
                    </a:lnTo>
                    <a:lnTo>
                      <a:pt x="344" y="4"/>
                    </a:lnTo>
                    <a:lnTo>
                      <a:pt x="348" y="6"/>
                    </a:lnTo>
                    <a:lnTo>
                      <a:pt x="348" y="6"/>
                    </a:lnTo>
                    <a:lnTo>
                      <a:pt x="352" y="8"/>
                    </a:lnTo>
                    <a:lnTo>
                      <a:pt x="352" y="8"/>
                    </a:lnTo>
                    <a:lnTo>
                      <a:pt x="356" y="10"/>
                    </a:lnTo>
                    <a:lnTo>
                      <a:pt x="356" y="10"/>
                    </a:lnTo>
                    <a:lnTo>
                      <a:pt x="360" y="12"/>
                    </a:lnTo>
                    <a:lnTo>
                      <a:pt x="360" y="12"/>
                    </a:lnTo>
                    <a:lnTo>
                      <a:pt x="364" y="14"/>
                    </a:lnTo>
                    <a:lnTo>
                      <a:pt x="364" y="14"/>
                    </a:lnTo>
                    <a:lnTo>
                      <a:pt x="368" y="16"/>
                    </a:lnTo>
                    <a:lnTo>
                      <a:pt x="368" y="16"/>
                    </a:lnTo>
                    <a:lnTo>
                      <a:pt x="372" y="20"/>
                    </a:lnTo>
                    <a:lnTo>
                      <a:pt x="372" y="20"/>
                    </a:lnTo>
                    <a:lnTo>
                      <a:pt x="376" y="22"/>
                    </a:lnTo>
                    <a:lnTo>
                      <a:pt x="376" y="22"/>
                    </a:lnTo>
                    <a:lnTo>
                      <a:pt x="380" y="24"/>
                    </a:lnTo>
                    <a:lnTo>
                      <a:pt x="380" y="24"/>
                    </a:lnTo>
                    <a:lnTo>
                      <a:pt x="382" y="26"/>
                    </a:lnTo>
                    <a:lnTo>
                      <a:pt x="382" y="26"/>
                    </a:lnTo>
                    <a:lnTo>
                      <a:pt x="386" y="30"/>
                    </a:lnTo>
                    <a:lnTo>
                      <a:pt x="386" y="30"/>
                    </a:lnTo>
                    <a:lnTo>
                      <a:pt x="390" y="32"/>
                    </a:lnTo>
                    <a:lnTo>
                      <a:pt x="390" y="32"/>
                    </a:lnTo>
                    <a:lnTo>
                      <a:pt x="394" y="36"/>
                    </a:lnTo>
                    <a:lnTo>
                      <a:pt x="394" y="36"/>
                    </a:lnTo>
                    <a:lnTo>
                      <a:pt x="398" y="38"/>
                    </a:lnTo>
                    <a:lnTo>
                      <a:pt x="398" y="38"/>
                    </a:lnTo>
                    <a:lnTo>
                      <a:pt x="400" y="40"/>
                    </a:lnTo>
                    <a:lnTo>
                      <a:pt x="400" y="40"/>
                    </a:lnTo>
                    <a:lnTo>
                      <a:pt x="404" y="44"/>
                    </a:lnTo>
                    <a:lnTo>
                      <a:pt x="404" y="44"/>
                    </a:lnTo>
                    <a:lnTo>
                      <a:pt x="408" y="46"/>
                    </a:lnTo>
                    <a:lnTo>
                      <a:pt x="408" y="46"/>
                    </a:lnTo>
                    <a:lnTo>
                      <a:pt x="410" y="50"/>
                    </a:lnTo>
                    <a:lnTo>
                      <a:pt x="410" y="50"/>
                    </a:lnTo>
                    <a:lnTo>
                      <a:pt x="430" y="70"/>
                    </a:lnTo>
                    <a:lnTo>
                      <a:pt x="446" y="90"/>
                    </a:lnTo>
                    <a:lnTo>
                      <a:pt x="460" y="112"/>
                    </a:lnTo>
                    <a:lnTo>
                      <a:pt x="472" y="134"/>
                    </a:lnTo>
                    <a:lnTo>
                      <a:pt x="480" y="156"/>
                    </a:lnTo>
                    <a:lnTo>
                      <a:pt x="486" y="178"/>
                    </a:lnTo>
                    <a:lnTo>
                      <a:pt x="490" y="202"/>
                    </a:lnTo>
                    <a:lnTo>
                      <a:pt x="492" y="224"/>
                    </a:lnTo>
                    <a:lnTo>
                      <a:pt x="490" y="248"/>
                    </a:lnTo>
                    <a:lnTo>
                      <a:pt x="488" y="272"/>
                    </a:lnTo>
                    <a:lnTo>
                      <a:pt x="484" y="296"/>
                    </a:lnTo>
                    <a:lnTo>
                      <a:pt x="478" y="320"/>
                    </a:lnTo>
                    <a:lnTo>
                      <a:pt x="468" y="344"/>
                    </a:lnTo>
                    <a:lnTo>
                      <a:pt x="458" y="368"/>
                    </a:lnTo>
                    <a:lnTo>
                      <a:pt x="448" y="392"/>
                    </a:lnTo>
                    <a:lnTo>
                      <a:pt x="434" y="416"/>
                    </a:lnTo>
                    <a:lnTo>
                      <a:pt x="406" y="464"/>
                    </a:lnTo>
                    <a:lnTo>
                      <a:pt x="372" y="510"/>
                    </a:lnTo>
                    <a:lnTo>
                      <a:pt x="334" y="556"/>
                    </a:lnTo>
                    <a:lnTo>
                      <a:pt x="294" y="600"/>
                    </a:lnTo>
                    <a:lnTo>
                      <a:pt x="250" y="642"/>
                    </a:lnTo>
                    <a:lnTo>
                      <a:pt x="208" y="680"/>
                    </a:lnTo>
                    <a:lnTo>
                      <a:pt x="164" y="716"/>
                    </a:lnTo>
                    <a:lnTo>
                      <a:pt x="122" y="750"/>
                    </a:lnTo>
                    <a:lnTo>
                      <a:pt x="122" y="750"/>
                    </a:lnTo>
                    <a:lnTo>
                      <a:pt x="112" y="758"/>
                    </a:lnTo>
                    <a:lnTo>
                      <a:pt x="108" y="770"/>
                    </a:lnTo>
                    <a:lnTo>
                      <a:pt x="104" y="782"/>
                    </a:lnTo>
                    <a:lnTo>
                      <a:pt x="104" y="798"/>
                    </a:lnTo>
                    <a:lnTo>
                      <a:pt x="106" y="814"/>
                    </a:lnTo>
                    <a:lnTo>
                      <a:pt x="108" y="830"/>
                    </a:lnTo>
                    <a:lnTo>
                      <a:pt x="116" y="864"/>
                    </a:lnTo>
                    <a:lnTo>
                      <a:pt x="122" y="894"/>
                    </a:lnTo>
                    <a:lnTo>
                      <a:pt x="124" y="910"/>
                    </a:lnTo>
                    <a:lnTo>
                      <a:pt x="124" y="922"/>
                    </a:lnTo>
                    <a:lnTo>
                      <a:pt x="124" y="934"/>
                    </a:lnTo>
                    <a:lnTo>
                      <a:pt x="118" y="942"/>
                    </a:lnTo>
                    <a:lnTo>
                      <a:pt x="112" y="948"/>
                    </a:lnTo>
                    <a:lnTo>
                      <a:pt x="100" y="952"/>
                    </a:lnTo>
                    <a:lnTo>
                      <a:pt x="100" y="952"/>
                    </a:lnTo>
                    <a:lnTo>
                      <a:pt x="74" y="952"/>
                    </a:lnTo>
                    <a:lnTo>
                      <a:pt x="50" y="952"/>
                    </a:lnTo>
                    <a:lnTo>
                      <a:pt x="50" y="952"/>
                    </a:lnTo>
                    <a:lnTo>
                      <a:pt x="24" y="950"/>
                    </a:lnTo>
                    <a:lnTo>
                      <a:pt x="0" y="944"/>
                    </a:lnTo>
                    <a:lnTo>
                      <a:pt x="114" y="974"/>
                    </a:lnTo>
                    <a:lnTo>
                      <a:pt x="114" y="974"/>
                    </a:lnTo>
                    <a:lnTo>
                      <a:pt x="138" y="980"/>
                    </a:lnTo>
                    <a:lnTo>
                      <a:pt x="164" y="982"/>
                    </a:lnTo>
                    <a:lnTo>
                      <a:pt x="164" y="982"/>
                    </a:lnTo>
                    <a:lnTo>
                      <a:pt x="188" y="984"/>
                    </a:lnTo>
                    <a:lnTo>
                      <a:pt x="214" y="982"/>
                    </a:lnTo>
                    <a:lnTo>
                      <a:pt x="214" y="982"/>
                    </a:lnTo>
                    <a:lnTo>
                      <a:pt x="240" y="978"/>
                    </a:lnTo>
                    <a:lnTo>
                      <a:pt x="266" y="972"/>
                    </a:lnTo>
                    <a:lnTo>
                      <a:pt x="266" y="972"/>
                    </a:lnTo>
                    <a:lnTo>
                      <a:pt x="292" y="964"/>
                    </a:lnTo>
                    <a:lnTo>
                      <a:pt x="316" y="954"/>
                    </a:lnTo>
                    <a:lnTo>
                      <a:pt x="316" y="954"/>
                    </a:lnTo>
                    <a:lnTo>
                      <a:pt x="326" y="950"/>
                    </a:lnTo>
                    <a:lnTo>
                      <a:pt x="326" y="950"/>
                    </a:lnTo>
                    <a:lnTo>
                      <a:pt x="336" y="944"/>
                    </a:lnTo>
                    <a:lnTo>
                      <a:pt x="336" y="944"/>
                    </a:lnTo>
                    <a:lnTo>
                      <a:pt x="344" y="940"/>
                    </a:lnTo>
                    <a:lnTo>
                      <a:pt x="344" y="940"/>
                    </a:lnTo>
                    <a:lnTo>
                      <a:pt x="354" y="936"/>
                    </a:lnTo>
                    <a:lnTo>
                      <a:pt x="354" y="936"/>
                    </a:lnTo>
                    <a:lnTo>
                      <a:pt x="360" y="932"/>
                    </a:lnTo>
                    <a:lnTo>
                      <a:pt x="360" y="932"/>
                    </a:lnTo>
                    <a:lnTo>
                      <a:pt x="368" y="926"/>
                    </a:lnTo>
                    <a:lnTo>
                      <a:pt x="368" y="926"/>
                    </a:lnTo>
                    <a:lnTo>
                      <a:pt x="374" y="922"/>
                    </a:lnTo>
                    <a:lnTo>
                      <a:pt x="374" y="922"/>
                    </a:lnTo>
                    <a:lnTo>
                      <a:pt x="382" y="918"/>
                    </a:lnTo>
                    <a:lnTo>
                      <a:pt x="382" y="918"/>
                    </a:lnTo>
                    <a:lnTo>
                      <a:pt x="388" y="914"/>
                    </a:lnTo>
                    <a:lnTo>
                      <a:pt x="388" y="914"/>
                    </a:lnTo>
                    <a:lnTo>
                      <a:pt x="394" y="910"/>
                    </a:lnTo>
                    <a:lnTo>
                      <a:pt x="394" y="910"/>
                    </a:lnTo>
                    <a:lnTo>
                      <a:pt x="400" y="906"/>
                    </a:lnTo>
                    <a:lnTo>
                      <a:pt x="400" y="906"/>
                    </a:lnTo>
                    <a:lnTo>
                      <a:pt x="406" y="900"/>
                    </a:lnTo>
                    <a:lnTo>
                      <a:pt x="406" y="900"/>
                    </a:lnTo>
                    <a:lnTo>
                      <a:pt x="410" y="896"/>
                    </a:lnTo>
                    <a:lnTo>
                      <a:pt x="410" y="896"/>
                    </a:lnTo>
                    <a:lnTo>
                      <a:pt x="416" y="892"/>
                    </a:lnTo>
                    <a:lnTo>
                      <a:pt x="416" y="892"/>
                    </a:lnTo>
                    <a:lnTo>
                      <a:pt x="422" y="888"/>
                    </a:lnTo>
                    <a:lnTo>
                      <a:pt x="422" y="888"/>
                    </a:lnTo>
                    <a:lnTo>
                      <a:pt x="426" y="884"/>
                    </a:lnTo>
                    <a:lnTo>
                      <a:pt x="426" y="884"/>
                    </a:lnTo>
                    <a:lnTo>
                      <a:pt x="432" y="880"/>
                    </a:lnTo>
                    <a:lnTo>
                      <a:pt x="432" y="880"/>
                    </a:lnTo>
                    <a:lnTo>
                      <a:pt x="436" y="874"/>
                    </a:lnTo>
                    <a:lnTo>
                      <a:pt x="436" y="874"/>
                    </a:lnTo>
                    <a:lnTo>
                      <a:pt x="440" y="870"/>
                    </a:lnTo>
                    <a:lnTo>
                      <a:pt x="440" y="870"/>
                    </a:lnTo>
                    <a:lnTo>
                      <a:pt x="446" y="866"/>
                    </a:lnTo>
                    <a:lnTo>
                      <a:pt x="446" y="866"/>
                    </a:lnTo>
                    <a:lnTo>
                      <a:pt x="450" y="862"/>
                    </a:lnTo>
                    <a:lnTo>
                      <a:pt x="450" y="862"/>
                    </a:lnTo>
                    <a:lnTo>
                      <a:pt x="454" y="858"/>
                    </a:lnTo>
                    <a:lnTo>
                      <a:pt x="454" y="858"/>
                    </a:lnTo>
                    <a:lnTo>
                      <a:pt x="458" y="854"/>
                    </a:lnTo>
                    <a:lnTo>
                      <a:pt x="458" y="854"/>
                    </a:lnTo>
                    <a:lnTo>
                      <a:pt x="464" y="848"/>
                    </a:lnTo>
                    <a:lnTo>
                      <a:pt x="464" y="848"/>
                    </a:lnTo>
                    <a:lnTo>
                      <a:pt x="468" y="844"/>
                    </a:lnTo>
                    <a:lnTo>
                      <a:pt x="468" y="844"/>
                    </a:lnTo>
                    <a:lnTo>
                      <a:pt x="472" y="840"/>
                    </a:lnTo>
                    <a:lnTo>
                      <a:pt x="472" y="840"/>
                    </a:lnTo>
                    <a:lnTo>
                      <a:pt x="476" y="836"/>
                    </a:lnTo>
                    <a:lnTo>
                      <a:pt x="476" y="836"/>
                    </a:lnTo>
                    <a:lnTo>
                      <a:pt x="480" y="832"/>
                    </a:lnTo>
                    <a:lnTo>
                      <a:pt x="480" y="832"/>
                    </a:lnTo>
                    <a:lnTo>
                      <a:pt x="484" y="826"/>
                    </a:lnTo>
                    <a:lnTo>
                      <a:pt x="484" y="826"/>
                    </a:lnTo>
                    <a:lnTo>
                      <a:pt x="488" y="822"/>
                    </a:lnTo>
                    <a:lnTo>
                      <a:pt x="488" y="822"/>
                    </a:lnTo>
                    <a:lnTo>
                      <a:pt x="492" y="818"/>
                    </a:lnTo>
                    <a:lnTo>
                      <a:pt x="492" y="818"/>
                    </a:lnTo>
                    <a:lnTo>
                      <a:pt x="494" y="812"/>
                    </a:lnTo>
                    <a:lnTo>
                      <a:pt x="494" y="812"/>
                    </a:lnTo>
                    <a:lnTo>
                      <a:pt x="498" y="808"/>
                    </a:lnTo>
                    <a:lnTo>
                      <a:pt x="498" y="808"/>
                    </a:lnTo>
                    <a:lnTo>
                      <a:pt x="502" y="804"/>
                    </a:lnTo>
                    <a:lnTo>
                      <a:pt x="502" y="804"/>
                    </a:lnTo>
                    <a:lnTo>
                      <a:pt x="506" y="800"/>
                    </a:lnTo>
                    <a:lnTo>
                      <a:pt x="506" y="800"/>
                    </a:lnTo>
                    <a:lnTo>
                      <a:pt x="510" y="794"/>
                    </a:lnTo>
                    <a:lnTo>
                      <a:pt x="510" y="794"/>
                    </a:lnTo>
                    <a:lnTo>
                      <a:pt x="512" y="790"/>
                    </a:lnTo>
                    <a:lnTo>
                      <a:pt x="512" y="790"/>
                    </a:lnTo>
                    <a:lnTo>
                      <a:pt x="516" y="784"/>
                    </a:lnTo>
                    <a:lnTo>
                      <a:pt x="516" y="784"/>
                    </a:lnTo>
                    <a:lnTo>
                      <a:pt x="520" y="780"/>
                    </a:lnTo>
                    <a:lnTo>
                      <a:pt x="520" y="780"/>
                    </a:lnTo>
                    <a:lnTo>
                      <a:pt x="524" y="774"/>
                    </a:lnTo>
                    <a:lnTo>
                      <a:pt x="524" y="774"/>
                    </a:lnTo>
                    <a:lnTo>
                      <a:pt x="526" y="770"/>
                    </a:lnTo>
                    <a:lnTo>
                      <a:pt x="526" y="770"/>
                    </a:lnTo>
                    <a:lnTo>
                      <a:pt x="530" y="764"/>
                    </a:lnTo>
                    <a:lnTo>
                      <a:pt x="530" y="764"/>
                    </a:lnTo>
                    <a:lnTo>
                      <a:pt x="534" y="760"/>
                    </a:lnTo>
                    <a:lnTo>
                      <a:pt x="534" y="760"/>
                    </a:lnTo>
                    <a:lnTo>
                      <a:pt x="536" y="754"/>
                    </a:lnTo>
                    <a:lnTo>
                      <a:pt x="536" y="754"/>
                    </a:lnTo>
                    <a:lnTo>
                      <a:pt x="540" y="750"/>
                    </a:lnTo>
                    <a:lnTo>
                      <a:pt x="540" y="750"/>
                    </a:lnTo>
                    <a:lnTo>
                      <a:pt x="542" y="744"/>
                    </a:lnTo>
                    <a:lnTo>
                      <a:pt x="542" y="744"/>
                    </a:lnTo>
                    <a:lnTo>
                      <a:pt x="546" y="740"/>
                    </a:lnTo>
                    <a:lnTo>
                      <a:pt x="546" y="740"/>
                    </a:lnTo>
                    <a:lnTo>
                      <a:pt x="550" y="734"/>
                    </a:lnTo>
                    <a:lnTo>
                      <a:pt x="550" y="734"/>
                    </a:lnTo>
                    <a:lnTo>
                      <a:pt x="552" y="728"/>
                    </a:lnTo>
                    <a:lnTo>
                      <a:pt x="552" y="728"/>
                    </a:lnTo>
                    <a:lnTo>
                      <a:pt x="556" y="722"/>
                    </a:lnTo>
                    <a:lnTo>
                      <a:pt x="556" y="722"/>
                    </a:lnTo>
                    <a:lnTo>
                      <a:pt x="558" y="718"/>
                    </a:lnTo>
                    <a:lnTo>
                      <a:pt x="558" y="718"/>
                    </a:lnTo>
                    <a:lnTo>
                      <a:pt x="562" y="712"/>
                    </a:lnTo>
                    <a:lnTo>
                      <a:pt x="562" y="712"/>
                    </a:lnTo>
                    <a:lnTo>
                      <a:pt x="564" y="706"/>
                    </a:lnTo>
                    <a:lnTo>
                      <a:pt x="564" y="706"/>
                    </a:lnTo>
                    <a:lnTo>
                      <a:pt x="568" y="700"/>
                    </a:lnTo>
                    <a:lnTo>
                      <a:pt x="568" y="700"/>
                    </a:lnTo>
                    <a:lnTo>
                      <a:pt x="570" y="694"/>
                    </a:lnTo>
                    <a:lnTo>
                      <a:pt x="570" y="694"/>
                    </a:lnTo>
                    <a:lnTo>
                      <a:pt x="574" y="688"/>
                    </a:lnTo>
                    <a:lnTo>
                      <a:pt x="574" y="688"/>
                    </a:lnTo>
                    <a:lnTo>
                      <a:pt x="576" y="682"/>
                    </a:lnTo>
                    <a:lnTo>
                      <a:pt x="576" y="682"/>
                    </a:lnTo>
                    <a:lnTo>
                      <a:pt x="580" y="676"/>
                    </a:lnTo>
                    <a:lnTo>
                      <a:pt x="580" y="676"/>
                    </a:lnTo>
                    <a:lnTo>
                      <a:pt x="582" y="670"/>
                    </a:lnTo>
                    <a:lnTo>
                      <a:pt x="582" y="670"/>
                    </a:lnTo>
                    <a:lnTo>
                      <a:pt x="584" y="662"/>
                    </a:lnTo>
                    <a:lnTo>
                      <a:pt x="584" y="662"/>
                    </a:lnTo>
                    <a:lnTo>
                      <a:pt x="588" y="656"/>
                    </a:lnTo>
                    <a:lnTo>
                      <a:pt x="588" y="656"/>
                    </a:lnTo>
                    <a:lnTo>
                      <a:pt x="590" y="648"/>
                    </a:lnTo>
                    <a:lnTo>
                      <a:pt x="590" y="648"/>
                    </a:lnTo>
                    <a:lnTo>
                      <a:pt x="594" y="642"/>
                    </a:lnTo>
                    <a:lnTo>
                      <a:pt x="594" y="642"/>
                    </a:lnTo>
                    <a:lnTo>
                      <a:pt x="596" y="634"/>
                    </a:lnTo>
                    <a:lnTo>
                      <a:pt x="596" y="632"/>
                    </a:lnTo>
                    <a:lnTo>
                      <a:pt x="598" y="630"/>
                    </a:lnTo>
                    <a:lnTo>
                      <a:pt x="598" y="628"/>
                    </a:lnTo>
                    <a:lnTo>
                      <a:pt x="598" y="626"/>
                    </a:lnTo>
                    <a:lnTo>
                      <a:pt x="598" y="626"/>
                    </a:lnTo>
                    <a:lnTo>
                      <a:pt x="600" y="620"/>
                    </a:lnTo>
                    <a:lnTo>
                      <a:pt x="600" y="620"/>
                    </a:lnTo>
                    <a:lnTo>
                      <a:pt x="602" y="614"/>
                    </a:lnTo>
                    <a:lnTo>
                      <a:pt x="602" y="614"/>
                    </a:lnTo>
                    <a:lnTo>
                      <a:pt x="604" y="608"/>
                    </a:lnTo>
                    <a:lnTo>
                      <a:pt x="604" y="608"/>
                    </a:lnTo>
                    <a:lnTo>
                      <a:pt x="606" y="604"/>
                    </a:lnTo>
                    <a:lnTo>
                      <a:pt x="606" y="604"/>
                    </a:lnTo>
                    <a:lnTo>
                      <a:pt x="610" y="594"/>
                    </a:lnTo>
                    <a:lnTo>
                      <a:pt x="610" y="594"/>
                    </a:lnTo>
                    <a:lnTo>
                      <a:pt x="612" y="584"/>
                    </a:lnTo>
                    <a:lnTo>
                      <a:pt x="612" y="584"/>
                    </a:lnTo>
                    <a:lnTo>
                      <a:pt x="614" y="576"/>
                    </a:lnTo>
                    <a:lnTo>
                      <a:pt x="614" y="576"/>
                    </a:lnTo>
                    <a:lnTo>
                      <a:pt x="618" y="566"/>
                    </a:lnTo>
                    <a:lnTo>
                      <a:pt x="618" y="566"/>
                    </a:lnTo>
                    <a:lnTo>
                      <a:pt x="620" y="556"/>
                    </a:lnTo>
                    <a:lnTo>
                      <a:pt x="620" y="556"/>
                    </a:lnTo>
                    <a:lnTo>
                      <a:pt x="622" y="544"/>
                    </a:lnTo>
                    <a:lnTo>
                      <a:pt x="622" y="544"/>
                    </a:lnTo>
                    <a:lnTo>
                      <a:pt x="624" y="532"/>
                    </a:lnTo>
                    <a:lnTo>
                      <a:pt x="624" y="532"/>
                    </a:lnTo>
                    <a:lnTo>
                      <a:pt x="626" y="522"/>
                    </a:lnTo>
                    <a:lnTo>
                      <a:pt x="626" y="522"/>
                    </a:lnTo>
                    <a:lnTo>
                      <a:pt x="630" y="500"/>
                    </a:lnTo>
                    <a:close/>
                  </a:path>
                </a:pathLst>
              </a:custGeom>
              <a:gradFill>
                <a:gsLst>
                  <a:gs pos="0">
                    <a:srgbClr val="B38800"/>
                  </a:gs>
                  <a:gs pos="48000">
                    <a:srgbClr val="FFC000"/>
                  </a:gs>
                  <a:gs pos="100000">
                    <a:srgbClr val="926F00"/>
                  </a:gs>
                </a:gsLst>
                <a:lin ang="18900000" scaled="0"/>
              </a:gradFill>
              <a:ln>
                <a:noFill/>
              </a:ln>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23" name="Freeform 188"/>
              <p:cNvSpPr>
                <a:spLocks noEditPoints="1"/>
              </p:cNvSpPr>
              <p:nvPr>
                <p:custDataLst>
                  <p:tags r:id="rId68"/>
                </p:custDataLst>
              </p:nvPr>
            </p:nvSpPr>
            <p:spPr bwMode="auto">
              <a:xfrm>
                <a:off x="3636716" y="3247054"/>
                <a:ext cx="673329" cy="968575"/>
              </a:xfrm>
              <a:custGeom>
                <a:avLst/>
                <a:gdLst>
                  <a:gd name="T0" fmla="*/ 526 w 634"/>
                  <a:gd name="T1" fmla="*/ 698 h 912"/>
                  <a:gd name="T2" fmla="*/ 532 w 634"/>
                  <a:gd name="T3" fmla="*/ 688 h 912"/>
                  <a:gd name="T4" fmla="*/ 538 w 634"/>
                  <a:gd name="T5" fmla="*/ 678 h 912"/>
                  <a:gd name="T6" fmla="*/ 254 w 634"/>
                  <a:gd name="T7" fmla="*/ 568 h 912"/>
                  <a:gd name="T8" fmla="*/ 108 w 634"/>
                  <a:gd name="T9" fmla="*/ 692 h 912"/>
                  <a:gd name="T10" fmla="*/ 422 w 634"/>
                  <a:gd name="T11" fmla="*/ 818 h 912"/>
                  <a:gd name="T12" fmla="*/ 432 w 634"/>
                  <a:gd name="T13" fmla="*/ 808 h 912"/>
                  <a:gd name="T14" fmla="*/ 442 w 634"/>
                  <a:gd name="T15" fmla="*/ 800 h 912"/>
                  <a:gd name="T16" fmla="*/ 124 w 634"/>
                  <a:gd name="T17" fmla="*/ 678 h 912"/>
                  <a:gd name="T18" fmla="*/ 476 w 634"/>
                  <a:gd name="T19" fmla="*/ 764 h 912"/>
                  <a:gd name="T20" fmla="*/ 484 w 634"/>
                  <a:gd name="T21" fmla="*/ 756 h 912"/>
                  <a:gd name="T22" fmla="*/ 490 w 634"/>
                  <a:gd name="T23" fmla="*/ 746 h 912"/>
                  <a:gd name="T24" fmla="*/ 192 w 634"/>
                  <a:gd name="T25" fmla="*/ 624 h 912"/>
                  <a:gd name="T26" fmla="*/ 46 w 634"/>
                  <a:gd name="T27" fmla="*/ 886 h 912"/>
                  <a:gd name="T28" fmla="*/ 100 w 634"/>
                  <a:gd name="T29" fmla="*/ 906 h 912"/>
                  <a:gd name="T30" fmla="*/ 288 w 634"/>
                  <a:gd name="T31" fmla="*/ 536 h 912"/>
                  <a:gd name="T32" fmla="*/ 564 w 634"/>
                  <a:gd name="T33" fmla="*/ 634 h 912"/>
                  <a:gd name="T34" fmla="*/ 570 w 634"/>
                  <a:gd name="T35" fmla="*/ 622 h 912"/>
                  <a:gd name="T36" fmla="*/ 310 w 634"/>
                  <a:gd name="T37" fmla="*/ 510 h 912"/>
                  <a:gd name="T38" fmla="*/ 344 w 634"/>
                  <a:gd name="T39" fmla="*/ 872 h 912"/>
                  <a:gd name="T40" fmla="*/ 356 w 634"/>
                  <a:gd name="T41" fmla="*/ 866 h 912"/>
                  <a:gd name="T42" fmla="*/ 370 w 634"/>
                  <a:gd name="T43" fmla="*/ 856 h 912"/>
                  <a:gd name="T44" fmla="*/ 102 w 634"/>
                  <a:gd name="T45" fmla="*/ 748 h 912"/>
                  <a:gd name="T46" fmla="*/ 238 w 634"/>
                  <a:gd name="T47" fmla="*/ 912 h 912"/>
                  <a:gd name="T48" fmla="*/ 120 w 634"/>
                  <a:gd name="T49" fmla="*/ 834 h 912"/>
                  <a:gd name="T50" fmla="*/ 632 w 634"/>
                  <a:gd name="T51" fmla="*/ 328 h 912"/>
                  <a:gd name="T52" fmla="*/ 472 w 634"/>
                  <a:gd name="T53" fmla="*/ 256 h 912"/>
                  <a:gd name="T54" fmla="*/ 634 w 634"/>
                  <a:gd name="T55" fmla="*/ 342 h 912"/>
                  <a:gd name="T56" fmla="*/ 606 w 634"/>
                  <a:gd name="T57" fmla="*/ 182 h 912"/>
                  <a:gd name="T58" fmla="*/ 604 w 634"/>
                  <a:gd name="T59" fmla="*/ 170 h 912"/>
                  <a:gd name="T60" fmla="*/ 598 w 634"/>
                  <a:gd name="T61" fmla="*/ 156 h 912"/>
                  <a:gd name="T62" fmla="*/ 592 w 634"/>
                  <a:gd name="T63" fmla="*/ 144 h 912"/>
                  <a:gd name="T64" fmla="*/ 484 w 634"/>
                  <a:gd name="T65" fmla="*/ 118 h 912"/>
                  <a:gd name="T66" fmla="*/ 558 w 634"/>
                  <a:gd name="T67" fmla="*/ 84 h 912"/>
                  <a:gd name="T68" fmla="*/ 552 w 634"/>
                  <a:gd name="T69" fmla="*/ 76 h 912"/>
                  <a:gd name="T70" fmla="*/ 546 w 634"/>
                  <a:gd name="T71" fmla="*/ 68 h 912"/>
                  <a:gd name="T72" fmla="*/ 540 w 634"/>
                  <a:gd name="T73" fmla="*/ 60 h 912"/>
                  <a:gd name="T74" fmla="*/ 534 w 634"/>
                  <a:gd name="T75" fmla="*/ 52 h 912"/>
                  <a:gd name="T76" fmla="*/ 526 w 634"/>
                  <a:gd name="T77" fmla="*/ 46 h 912"/>
                  <a:gd name="T78" fmla="*/ 520 w 634"/>
                  <a:gd name="T79" fmla="*/ 40 h 912"/>
                  <a:gd name="T80" fmla="*/ 424 w 634"/>
                  <a:gd name="T81" fmla="*/ 0 h 912"/>
                  <a:gd name="T82" fmla="*/ 482 w 634"/>
                  <a:gd name="T83" fmla="*/ 214 h 912"/>
                  <a:gd name="T84" fmla="*/ 626 w 634"/>
                  <a:gd name="T85" fmla="*/ 254 h 912"/>
                  <a:gd name="T86" fmla="*/ 486 w 634"/>
                  <a:gd name="T87" fmla="*/ 182 h 912"/>
                  <a:gd name="T88" fmla="*/ 592 w 634"/>
                  <a:gd name="T89" fmla="*/ 570 h 912"/>
                  <a:gd name="T90" fmla="*/ 594 w 634"/>
                  <a:gd name="T91" fmla="*/ 562 h 912"/>
                  <a:gd name="T92" fmla="*/ 596 w 634"/>
                  <a:gd name="T93" fmla="*/ 554 h 912"/>
                  <a:gd name="T94" fmla="*/ 602 w 634"/>
                  <a:gd name="T95" fmla="*/ 542 h 912"/>
                  <a:gd name="T96" fmla="*/ 388 w 634"/>
                  <a:gd name="T97" fmla="*/ 416 h 912"/>
                  <a:gd name="T98" fmla="*/ 616 w 634"/>
                  <a:gd name="T99" fmla="*/ 490 h 912"/>
                  <a:gd name="T100" fmla="*/ 406 w 634"/>
                  <a:gd name="T101" fmla="*/ 390 h 912"/>
                  <a:gd name="T102" fmla="*/ 628 w 634"/>
                  <a:gd name="T103" fmla="*/ 426 h 912"/>
                  <a:gd name="T104" fmla="*/ 632 w 634"/>
                  <a:gd name="T105" fmla="*/ 394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4" h="912">
                    <a:moveTo>
                      <a:pt x="228" y="592"/>
                    </a:moveTo>
                    <a:lnTo>
                      <a:pt x="524" y="702"/>
                    </a:lnTo>
                    <a:lnTo>
                      <a:pt x="524" y="702"/>
                    </a:lnTo>
                    <a:lnTo>
                      <a:pt x="526" y="698"/>
                    </a:lnTo>
                    <a:lnTo>
                      <a:pt x="526" y="698"/>
                    </a:lnTo>
                    <a:lnTo>
                      <a:pt x="530" y="694"/>
                    </a:lnTo>
                    <a:lnTo>
                      <a:pt x="530" y="694"/>
                    </a:lnTo>
                    <a:lnTo>
                      <a:pt x="532" y="688"/>
                    </a:lnTo>
                    <a:lnTo>
                      <a:pt x="532" y="688"/>
                    </a:lnTo>
                    <a:lnTo>
                      <a:pt x="536" y="684"/>
                    </a:lnTo>
                    <a:lnTo>
                      <a:pt x="536" y="684"/>
                    </a:lnTo>
                    <a:lnTo>
                      <a:pt x="538" y="678"/>
                    </a:lnTo>
                    <a:lnTo>
                      <a:pt x="538" y="678"/>
                    </a:lnTo>
                    <a:lnTo>
                      <a:pt x="540" y="676"/>
                    </a:lnTo>
                    <a:lnTo>
                      <a:pt x="254" y="568"/>
                    </a:lnTo>
                    <a:lnTo>
                      <a:pt x="254" y="568"/>
                    </a:lnTo>
                    <a:lnTo>
                      <a:pt x="228" y="592"/>
                    </a:lnTo>
                    <a:close/>
                    <a:moveTo>
                      <a:pt x="118" y="684"/>
                    </a:moveTo>
                    <a:lnTo>
                      <a:pt x="118" y="684"/>
                    </a:lnTo>
                    <a:lnTo>
                      <a:pt x="108" y="692"/>
                    </a:lnTo>
                    <a:lnTo>
                      <a:pt x="104" y="702"/>
                    </a:lnTo>
                    <a:lnTo>
                      <a:pt x="418" y="820"/>
                    </a:lnTo>
                    <a:lnTo>
                      <a:pt x="418" y="820"/>
                    </a:lnTo>
                    <a:lnTo>
                      <a:pt x="422" y="818"/>
                    </a:lnTo>
                    <a:lnTo>
                      <a:pt x="422" y="818"/>
                    </a:lnTo>
                    <a:lnTo>
                      <a:pt x="428" y="814"/>
                    </a:lnTo>
                    <a:lnTo>
                      <a:pt x="428" y="814"/>
                    </a:lnTo>
                    <a:lnTo>
                      <a:pt x="432" y="808"/>
                    </a:lnTo>
                    <a:lnTo>
                      <a:pt x="432" y="808"/>
                    </a:lnTo>
                    <a:lnTo>
                      <a:pt x="436" y="804"/>
                    </a:lnTo>
                    <a:lnTo>
                      <a:pt x="436" y="804"/>
                    </a:lnTo>
                    <a:lnTo>
                      <a:pt x="442" y="800"/>
                    </a:lnTo>
                    <a:lnTo>
                      <a:pt x="442" y="800"/>
                    </a:lnTo>
                    <a:lnTo>
                      <a:pt x="444" y="798"/>
                    </a:lnTo>
                    <a:lnTo>
                      <a:pt x="124" y="678"/>
                    </a:lnTo>
                    <a:lnTo>
                      <a:pt x="124" y="678"/>
                    </a:lnTo>
                    <a:lnTo>
                      <a:pt x="118" y="684"/>
                    </a:lnTo>
                    <a:close/>
                    <a:moveTo>
                      <a:pt x="164" y="646"/>
                    </a:moveTo>
                    <a:lnTo>
                      <a:pt x="476" y="764"/>
                    </a:lnTo>
                    <a:lnTo>
                      <a:pt x="476" y="764"/>
                    </a:lnTo>
                    <a:lnTo>
                      <a:pt x="480" y="760"/>
                    </a:lnTo>
                    <a:lnTo>
                      <a:pt x="480" y="760"/>
                    </a:lnTo>
                    <a:lnTo>
                      <a:pt x="484" y="756"/>
                    </a:lnTo>
                    <a:lnTo>
                      <a:pt x="484" y="756"/>
                    </a:lnTo>
                    <a:lnTo>
                      <a:pt x="488" y="752"/>
                    </a:lnTo>
                    <a:lnTo>
                      <a:pt x="488" y="752"/>
                    </a:lnTo>
                    <a:lnTo>
                      <a:pt x="490" y="746"/>
                    </a:lnTo>
                    <a:lnTo>
                      <a:pt x="490" y="746"/>
                    </a:lnTo>
                    <a:lnTo>
                      <a:pt x="494" y="742"/>
                    </a:lnTo>
                    <a:lnTo>
                      <a:pt x="494" y="742"/>
                    </a:lnTo>
                    <a:lnTo>
                      <a:pt x="498" y="738"/>
                    </a:lnTo>
                    <a:lnTo>
                      <a:pt x="192" y="624"/>
                    </a:lnTo>
                    <a:lnTo>
                      <a:pt x="192" y="624"/>
                    </a:lnTo>
                    <a:lnTo>
                      <a:pt x="164" y="646"/>
                    </a:lnTo>
                    <a:close/>
                    <a:moveTo>
                      <a:pt x="46" y="886"/>
                    </a:moveTo>
                    <a:lnTo>
                      <a:pt x="46" y="886"/>
                    </a:lnTo>
                    <a:lnTo>
                      <a:pt x="22" y="884"/>
                    </a:lnTo>
                    <a:lnTo>
                      <a:pt x="0" y="880"/>
                    </a:lnTo>
                    <a:lnTo>
                      <a:pt x="0" y="880"/>
                    </a:lnTo>
                    <a:lnTo>
                      <a:pt x="100" y="906"/>
                    </a:lnTo>
                    <a:lnTo>
                      <a:pt x="48" y="886"/>
                    </a:lnTo>
                    <a:lnTo>
                      <a:pt x="48" y="886"/>
                    </a:lnTo>
                    <a:lnTo>
                      <a:pt x="46" y="886"/>
                    </a:lnTo>
                    <a:close/>
                    <a:moveTo>
                      <a:pt x="288" y="536"/>
                    </a:moveTo>
                    <a:lnTo>
                      <a:pt x="562" y="638"/>
                    </a:lnTo>
                    <a:lnTo>
                      <a:pt x="562" y="638"/>
                    </a:lnTo>
                    <a:lnTo>
                      <a:pt x="564" y="634"/>
                    </a:lnTo>
                    <a:lnTo>
                      <a:pt x="564" y="634"/>
                    </a:lnTo>
                    <a:lnTo>
                      <a:pt x="566" y="628"/>
                    </a:lnTo>
                    <a:lnTo>
                      <a:pt x="566" y="628"/>
                    </a:lnTo>
                    <a:lnTo>
                      <a:pt x="570" y="622"/>
                    </a:lnTo>
                    <a:lnTo>
                      <a:pt x="570" y="622"/>
                    </a:lnTo>
                    <a:lnTo>
                      <a:pt x="572" y="616"/>
                    </a:lnTo>
                    <a:lnTo>
                      <a:pt x="572" y="616"/>
                    </a:lnTo>
                    <a:lnTo>
                      <a:pt x="574" y="610"/>
                    </a:lnTo>
                    <a:lnTo>
                      <a:pt x="310" y="510"/>
                    </a:lnTo>
                    <a:lnTo>
                      <a:pt x="310" y="510"/>
                    </a:lnTo>
                    <a:lnTo>
                      <a:pt x="288" y="536"/>
                    </a:lnTo>
                    <a:close/>
                    <a:moveTo>
                      <a:pt x="108" y="784"/>
                    </a:moveTo>
                    <a:lnTo>
                      <a:pt x="344" y="872"/>
                    </a:lnTo>
                    <a:lnTo>
                      <a:pt x="344" y="872"/>
                    </a:lnTo>
                    <a:lnTo>
                      <a:pt x="350" y="870"/>
                    </a:lnTo>
                    <a:lnTo>
                      <a:pt x="350" y="870"/>
                    </a:lnTo>
                    <a:lnTo>
                      <a:pt x="356" y="866"/>
                    </a:lnTo>
                    <a:lnTo>
                      <a:pt x="356" y="866"/>
                    </a:lnTo>
                    <a:lnTo>
                      <a:pt x="364" y="860"/>
                    </a:lnTo>
                    <a:lnTo>
                      <a:pt x="364" y="860"/>
                    </a:lnTo>
                    <a:lnTo>
                      <a:pt x="370" y="856"/>
                    </a:lnTo>
                    <a:lnTo>
                      <a:pt x="370" y="856"/>
                    </a:lnTo>
                    <a:lnTo>
                      <a:pt x="378" y="852"/>
                    </a:lnTo>
                    <a:lnTo>
                      <a:pt x="102" y="748"/>
                    </a:lnTo>
                    <a:lnTo>
                      <a:pt x="102" y="748"/>
                    </a:lnTo>
                    <a:lnTo>
                      <a:pt x="108" y="784"/>
                    </a:lnTo>
                    <a:close/>
                    <a:moveTo>
                      <a:pt x="120" y="866"/>
                    </a:moveTo>
                    <a:lnTo>
                      <a:pt x="238" y="912"/>
                    </a:lnTo>
                    <a:lnTo>
                      <a:pt x="238" y="912"/>
                    </a:lnTo>
                    <a:lnTo>
                      <a:pt x="262" y="906"/>
                    </a:lnTo>
                    <a:lnTo>
                      <a:pt x="262" y="906"/>
                    </a:lnTo>
                    <a:lnTo>
                      <a:pt x="288" y="898"/>
                    </a:lnTo>
                    <a:lnTo>
                      <a:pt x="120" y="834"/>
                    </a:lnTo>
                    <a:lnTo>
                      <a:pt x="120" y="834"/>
                    </a:lnTo>
                    <a:lnTo>
                      <a:pt x="120" y="852"/>
                    </a:lnTo>
                    <a:lnTo>
                      <a:pt x="120" y="866"/>
                    </a:lnTo>
                    <a:close/>
                    <a:moveTo>
                      <a:pt x="632" y="328"/>
                    </a:moveTo>
                    <a:lnTo>
                      <a:pt x="632" y="328"/>
                    </a:lnTo>
                    <a:lnTo>
                      <a:pt x="632" y="316"/>
                    </a:lnTo>
                    <a:lnTo>
                      <a:pt x="472" y="256"/>
                    </a:lnTo>
                    <a:lnTo>
                      <a:pt x="472" y="256"/>
                    </a:lnTo>
                    <a:lnTo>
                      <a:pt x="462" y="284"/>
                    </a:lnTo>
                    <a:lnTo>
                      <a:pt x="632" y="348"/>
                    </a:lnTo>
                    <a:lnTo>
                      <a:pt x="632" y="348"/>
                    </a:lnTo>
                    <a:lnTo>
                      <a:pt x="634" y="342"/>
                    </a:lnTo>
                    <a:lnTo>
                      <a:pt x="634" y="342"/>
                    </a:lnTo>
                    <a:lnTo>
                      <a:pt x="632" y="328"/>
                    </a:lnTo>
                    <a:close/>
                    <a:moveTo>
                      <a:pt x="486" y="136"/>
                    </a:moveTo>
                    <a:lnTo>
                      <a:pt x="606" y="182"/>
                    </a:lnTo>
                    <a:lnTo>
                      <a:pt x="606" y="182"/>
                    </a:lnTo>
                    <a:lnTo>
                      <a:pt x="606" y="178"/>
                    </a:lnTo>
                    <a:lnTo>
                      <a:pt x="606" y="178"/>
                    </a:lnTo>
                    <a:lnTo>
                      <a:pt x="604" y="170"/>
                    </a:lnTo>
                    <a:lnTo>
                      <a:pt x="604" y="170"/>
                    </a:lnTo>
                    <a:lnTo>
                      <a:pt x="600" y="164"/>
                    </a:lnTo>
                    <a:lnTo>
                      <a:pt x="600" y="164"/>
                    </a:lnTo>
                    <a:lnTo>
                      <a:pt x="598" y="156"/>
                    </a:lnTo>
                    <a:lnTo>
                      <a:pt x="598" y="156"/>
                    </a:lnTo>
                    <a:lnTo>
                      <a:pt x="594" y="150"/>
                    </a:lnTo>
                    <a:lnTo>
                      <a:pt x="594" y="150"/>
                    </a:lnTo>
                    <a:lnTo>
                      <a:pt x="592" y="144"/>
                    </a:lnTo>
                    <a:lnTo>
                      <a:pt x="592" y="142"/>
                    </a:lnTo>
                    <a:lnTo>
                      <a:pt x="480" y="100"/>
                    </a:lnTo>
                    <a:lnTo>
                      <a:pt x="480" y="100"/>
                    </a:lnTo>
                    <a:lnTo>
                      <a:pt x="484" y="118"/>
                    </a:lnTo>
                    <a:lnTo>
                      <a:pt x="486" y="136"/>
                    </a:lnTo>
                    <a:close/>
                    <a:moveTo>
                      <a:pt x="558" y="84"/>
                    </a:moveTo>
                    <a:lnTo>
                      <a:pt x="558" y="84"/>
                    </a:lnTo>
                    <a:lnTo>
                      <a:pt x="558" y="84"/>
                    </a:lnTo>
                    <a:lnTo>
                      <a:pt x="554" y="80"/>
                    </a:lnTo>
                    <a:lnTo>
                      <a:pt x="554" y="80"/>
                    </a:lnTo>
                    <a:lnTo>
                      <a:pt x="552" y="76"/>
                    </a:lnTo>
                    <a:lnTo>
                      <a:pt x="552" y="76"/>
                    </a:lnTo>
                    <a:lnTo>
                      <a:pt x="548" y="72"/>
                    </a:lnTo>
                    <a:lnTo>
                      <a:pt x="548" y="72"/>
                    </a:lnTo>
                    <a:lnTo>
                      <a:pt x="546" y="68"/>
                    </a:lnTo>
                    <a:lnTo>
                      <a:pt x="546" y="68"/>
                    </a:lnTo>
                    <a:lnTo>
                      <a:pt x="542" y="64"/>
                    </a:lnTo>
                    <a:lnTo>
                      <a:pt x="542" y="64"/>
                    </a:lnTo>
                    <a:lnTo>
                      <a:pt x="540" y="60"/>
                    </a:lnTo>
                    <a:lnTo>
                      <a:pt x="540" y="60"/>
                    </a:lnTo>
                    <a:lnTo>
                      <a:pt x="536" y="56"/>
                    </a:lnTo>
                    <a:lnTo>
                      <a:pt x="536" y="56"/>
                    </a:lnTo>
                    <a:lnTo>
                      <a:pt x="534" y="52"/>
                    </a:lnTo>
                    <a:lnTo>
                      <a:pt x="534" y="52"/>
                    </a:lnTo>
                    <a:lnTo>
                      <a:pt x="530" y="50"/>
                    </a:lnTo>
                    <a:lnTo>
                      <a:pt x="530" y="50"/>
                    </a:lnTo>
                    <a:lnTo>
                      <a:pt x="526" y="46"/>
                    </a:lnTo>
                    <a:lnTo>
                      <a:pt x="526" y="46"/>
                    </a:lnTo>
                    <a:lnTo>
                      <a:pt x="524" y="42"/>
                    </a:lnTo>
                    <a:lnTo>
                      <a:pt x="524" y="42"/>
                    </a:lnTo>
                    <a:lnTo>
                      <a:pt x="520" y="40"/>
                    </a:lnTo>
                    <a:lnTo>
                      <a:pt x="520" y="40"/>
                    </a:lnTo>
                    <a:lnTo>
                      <a:pt x="518" y="36"/>
                    </a:lnTo>
                    <a:lnTo>
                      <a:pt x="516" y="36"/>
                    </a:lnTo>
                    <a:lnTo>
                      <a:pt x="424" y="0"/>
                    </a:lnTo>
                    <a:lnTo>
                      <a:pt x="424" y="0"/>
                    </a:lnTo>
                    <a:lnTo>
                      <a:pt x="442" y="22"/>
                    </a:lnTo>
                    <a:lnTo>
                      <a:pt x="456" y="46"/>
                    </a:lnTo>
                    <a:lnTo>
                      <a:pt x="558" y="84"/>
                    </a:lnTo>
                    <a:close/>
                    <a:moveTo>
                      <a:pt x="482" y="214"/>
                    </a:moveTo>
                    <a:lnTo>
                      <a:pt x="628" y="268"/>
                    </a:lnTo>
                    <a:lnTo>
                      <a:pt x="628" y="268"/>
                    </a:lnTo>
                    <a:lnTo>
                      <a:pt x="626" y="254"/>
                    </a:lnTo>
                    <a:lnTo>
                      <a:pt x="626" y="254"/>
                    </a:lnTo>
                    <a:lnTo>
                      <a:pt x="622" y="236"/>
                    </a:lnTo>
                    <a:lnTo>
                      <a:pt x="622" y="236"/>
                    </a:lnTo>
                    <a:lnTo>
                      <a:pt x="622" y="232"/>
                    </a:lnTo>
                    <a:lnTo>
                      <a:pt x="486" y="182"/>
                    </a:lnTo>
                    <a:lnTo>
                      <a:pt x="486" y="182"/>
                    </a:lnTo>
                    <a:lnTo>
                      <a:pt x="482" y="214"/>
                    </a:lnTo>
                    <a:close/>
                    <a:moveTo>
                      <a:pt x="342" y="476"/>
                    </a:moveTo>
                    <a:lnTo>
                      <a:pt x="592" y="570"/>
                    </a:lnTo>
                    <a:lnTo>
                      <a:pt x="592" y="568"/>
                    </a:lnTo>
                    <a:lnTo>
                      <a:pt x="592" y="566"/>
                    </a:lnTo>
                    <a:lnTo>
                      <a:pt x="594" y="564"/>
                    </a:lnTo>
                    <a:lnTo>
                      <a:pt x="594" y="562"/>
                    </a:lnTo>
                    <a:lnTo>
                      <a:pt x="594" y="560"/>
                    </a:lnTo>
                    <a:lnTo>
                      <a:pt x="594" y="560"/>
                    </a:lnTo>
                    <a:lnTo>
                      <a:pt x="596" y="554"/>
                    </a:lnTo>
                    <a:lnTo>
                      <a:pt x="596" y="554"/>
                    </a:lnTo>
                    <a:lnTo>
                      <a:pt x="598" y="548"/>
                    </a:lnTo>
                    <a:lnTo>
                      <a:pt x="598" y="548"/>
                    </a:lnTo>
                    <a:lnTo>
                      <a:pt x="600" y="542"/>
                    </a:lnTo>
                    <a:lnTo>
                      <a:pt x="602" y="542"/>
                    </a:lnTo>
                    <a:lnTo>
                      <a:pt x="362" y="452"/>
                    </a:lnTo>
                    <a:lnTo>
                      <a:pt x="362" y="452"/>
                    </a:lnTo>
                    <a:lnTo>
                      <a:pt x="342" y="476"/>
                    </a:lnTo>
                    <a:close/>
                    <a:moveTo>
                      <a:pt x="388" y="416"/>
                    </a:moveTo>
                    <a:lnTo>
                      <a:pt x="614" y="500"/>
                    </a:lnTo>
                    <a:lnTo>
                      <a:pt x="614" y="500"/>
                    </a:lnTo>
                    <a:lnTo>
                      <a:pt x="616" y="490"/>
                    </a:lnTo>
                    <a:lnTo>
                      <a:pt x="616" y="490"/>
                    </a:lnTo>
                    <a:lnTo>
                      <a:pt x="618" y="478"/>
                    </a:lnTo>
                    <a:lnTo>
                      <a:pt x="618" y="478"/>
                    </a:lnTo>
                    <a:lnTo>
                      <a:pt x="620" y="470"/>
                    </a:lnTo>
                    <a:lnTo>
                      <a:pt x="406" y="390"/>
                    </a:lnTo>
                    <a:lnTo>
                      <a:pt x="406" y="390"/>
                    </a:lnTo>
                    <a:lnTo>
                      <a:pt x="388" y="416"/>
                    </a:lnTo>
                    <a:close/>
                    <a:moveTo>
                      <a:pt x="430" y="352"/>
                    </a:moveTo>
                    <a:lnTo>
                      <a:pt x="628" y="426"/>
                    </a:lnTo>
                    <a:lnTo>
                      <a:pt x="628" y="426"/>
                    </a:lnTo>
                    <a:lnTo>
                      <a:pt x="630" y="414"/>
                    </a:lnTo>
                    <a:lnTo>
                      <a:pt x="630" y="414"/>
                    </a:lnTo>
                    <a:lnTo>
                      <a:pt x="632" y="394"/>
                    </a:lnTo>
                    <a:lnTo>
                      <a:pt x="444" y="324"/>
                    </a:lnTo>
                    <a:lnTo>
                      <a:pt x="444" y="324"/>
                    </a:lnTo>
                    <a:lnTo>
                      <a:pt x="430" y="352"/>
                    </a:lnTo>
                    <a:close/>
                  </a:path>
                </a:pathLst>
              </a:custGeom>
              <a:gradFill>
                <a:gsLst>
                  <a:gs pos="0">
                    <a:srgbClr val="FFF47C">
                      <a:alpha val="44000"/>
                    </a:srgbClr>
                  </a:gs>
                  <a:gs pos="100000">
                    <a:srgbClr val="FFF47C">
                      <a:alpha val="29000"/>
                    </a:srgbClr>
                  </a:gs>
                </a:gsLst>
                <a:lin ang="18900000" scaled="0"/>
              </a:gradFill>
              <a:ln>
                <a:noFill/>
              </a:ln>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24" name="Freeform 189"/>
              <p:cNvSpPr/>
              <p:nvPr>
                <p:custDataLst>
                  <p:tags r:id="rId69"/>
                </p:custDataLst>
              </p:nvPr>
            </p:nvSpPr>
            <p:spPr bwMode="auto">
              <a:xfrm>
                <a:off x="3878860" y="3850289"/>
                <a:ext cx="331354" cy="142313"/>
              </a:xfrm>
              <a:custGeom>
                <a:avLst/>
                <a:gdLst>
                  <a:gd name="T0" fmla="*/ 0 w 312"/>
                  <a:gd name="T1" fmla="*/ 24 h 134"/>
                  <a:gd name="T2" fmla="*/ 296 w 312"/>
                  <a:gd name="T3" fmla="*/ 134 h 134"/>
                  <a:gd name="T4" fmla="*/ 296 w 312"/>
                  <a:gd name="T5" fmla="*/ 134 h 134"/>
                  <a:gd name="T6" fmla="*/ 298 w 312"/>
                  <a:gd name="T7" fmla="*/ 130 h 134"/>
                  <a:gd name="T8" fmla="*/ 298 w 312"/>
                  <a:gd name="T9" fmla="*/ 130 h 134"/>
                  <a:gd name="T10" fmla="*/ 302 w 312"/>
                  <a:gd name="T11" fmla="*/ 126 h 134"/>
                  <a:gd name="T12" fmla="*/ 302 w 312"/>
                  <a:gd name="T13" fmla="*/ 126 h 134"/>
                  <a:gd name="T14" fmla="*/ 304 w 312"/>
                  <a:gd name="T15" fmla="*/ 120 h 134"/>
                  <a:gd name="T16" fmla="*/ 304 w 312"/>
                  <a:gd name="T17" fmla="*/ 120 h 134"/>
                  <a:gd name="T18" fmla="*/ 308 w 312"/>
                  <a:gd name="T19" fmla="*/ 116 h 134"/>
                  <a:gd name="T20" fmla="*/ 308 w 312"/>
                  <a:gd name="T21" fmla="*/ 116 h 134"/>
                  <a:gd name="T22" fmla="*/ 310 w 312"/>
                  <a:gd name="T23" fmla="*/ 110 h 134"/>
                  <a:gd name="T24" fmla="*/ 310 w 312"/>
                  <a:gd name="T25" fmla="*/ 110 h 134"/>
                  <a:gd name="T26" fmla="*/ 312 w 312"/>
                  <a:gd name="T27" fmla="*/ 108 h 134"/>
                  <a:gd name="T28" fmla="*/ 26 w 312"/>
                  <a:gd name="T29" fmla="*/ 0 h 134"/>
                  <a:gd name="T30" fmla="*/ 26 w 312"/>
                  <a:gd name="T31" fmla="*/ 0 h 134"/>
                  <a:gd name="T32" fmla="*/ 0 w 312"/>
                  <a:gd name="T33" fmla="*/ 2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2" h="134">
                    <a:moveTo>
                      <a:pt x="0" y="24"/>
                    </a:moveTo>
                    <a:lnTo>
                      <a:pt x="296" y="134"/>
                    </a:lnTo>
                    <a:lnTo>
                      <a:pt x="296" y="134"/>
                    </a:lnTo>
                    <a:lnTo>
                      <a:pt x="298" y="130"/>
                    </a:lnTo>
                    <a:lnTo>
                      <a:pt x="298" y="130"/>
                    </a:lnTo>
                    <a:lnTo>
                      <a:pt x="302" y="126"/>
                    </a:lnTo>
                    <a:lnTo>
                      <a:pt x="302" y="126"/>
                    </a:lnTo>
                    <a:lnTo>
                      <a:pt x="304" y="120"/>
                    </a:lnTo>
                    <a:lnTo>
                      <a:pt x="304" y="120"/>
                    </a:lnTo>
                    <a:lnTo>
                      <a:pt x="308" y="116"/>
                    </a:lnTo>
                    <a:lnTo>
                      <a:pt x="308" y="116"/>
                    </a:lnTo>
                    <a:lnTo>
                      <a:pt x="310" y="110"/>
                    </a:lnTo>
                    <a:lnTo>
                      <a:pt x="310" y="110"/>
                    </a:lnTo>
                    <a:lnTo>
                      <a:pt x="312" y="108"/>
                    </a:lnTo>
                    <a:lnTo>
                      <a:pt x="26" y="0"/>
                    </a:lnTo>
                    <a:lnTo>
                      <a:pt x="26" y="0"/>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25" name="Freeform 190"/>
              <p:cNvSpPr/>
              <p:nvPr>
                <p:custDataLst>
                  <p:tags r:id="rId70"/>
                </p:custDataLst>
              </p:nvPr>
            </p:nvSpPr>
            <p:spPr bwMode="auto">
              <a:xfrm>
                <a:off x="3747168" y="3967113"/>
                <a:ext cx="361091" cy="150808"/>
              </a:xfrm>
              <a:custGeom>
                <a:avLst/>
                <a:gdLst>
                  <a:gd name="T0" fmla="*/ 14 w 340"/>
                  <a:gd name="T1" fmla="*/ 6 h 142"/>
                  <a:gd name="T2" fmla="*/ 14 w 340"/>
                  <a:gd name="T3" fmla="*/ 6 h 142"/>
                  <a:gd name="T4" fmla="*/ 4 w 340"/>
                  <a:gd name="T5" fmla="*/ 14 h 142"/>
                  <a:gd name="T6" fmla="*/ 0 w 340"/>
                  <a:gd name="T7" fmla="*/ 24 h 142"/>
                  <a:gd name="T8" fmla="*/ 314 w 340"/>
                  <a:gd name="T9" fmla="*/ 142 h 142"/>
                  <a:gd name="T10" fmla="*/ 314 w 340"/>
                  <a:gd name="T11" fmla="*/ 142 h 142"/>
                  <a:gd name="T12" fmla="*/ 318 w 340"/>
                  <a:gd name="T13" fmla="*/ 140 h 142"/>
                  <a:gd name="T14" fmla="*/ 318 w 340"/>
                  <a:gd name="T15" fmla="*/ 140 h 142"/>
                  <a:gd name="T16" fmla="*/ 324 w 340"/>
                  <a:gd name="T17" fmla="*/ 136 h 142"/>
                  <a:gd name="T18" fmla="*/ 324 w 340"/>
                  <a:gd name="T19" fmla="*/ 136 h 142"/>
                  <a:gd name="T20" fmla="*/ 328 w 340"/>
                  <a:gd name="T21" fmla="*/ 130 h 142"/>
                  <a:gd name="T22" fmla="*/ 328 w 340"/>
                  <a:gd name="T23" fmla="*/ 130 h 142"/>
                  <a:gd name="T24" fmla="*/ 332 w 340"/>
                  <a:gd name="T25" fmla="*/ 126 h 142"/>
                  <a:gd name="T26" fmla="*/ 332 w 340"/>
                  <a:gd name="T27" fmla="*/ 126 h 142"/>
                  <a:gd name="T28" fmla="*/ 338 w 340"/>
                  <a:gd name="T29" fmla="*/ 122 h 142"/>
                  <a:gd name="T30" fmla="*/ 338 w 340"/>
                  <a:gd name="T31" fmla="*/ 122 h 142"/>
                  <a:gd name="T32" fmla="*/ 340 w 340"/>
                  <a:gd name="T33" fmla="*/ 120 h 142"/>
                  <a:gd name="T34" fmla="*/ 20 w 340"/>
                  <a:gd name="T35" fmla="*/ 0 h 142"/>
                  <a:gd name="T36" fmla="*/ 20 w 340"/>
                  <a:gd name="T37" fmla="*/ 0 h 142"/>
                  <a:gd name="T38" fmla="*/ 14 w 340"/>
                  <a:gd name="T39"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0" h="142">
                    <a:moveTo>
                      <a:pt x="14" y="6"/>
                    </a:moveTo>
                    <a:lnTo>
                      <a:pt x="14" y="6"/>
                    </a:lnTo>
                    <a:lnTo>
                      <a:pt x="4" y="14"/>
                    </a:lnTo>
                    <a:lnTo>
                      <a:pt x="0" y="24"/>
                    </a:lnTo>
                    <a:lnTo>
                      <a:pt x="314" y="142"/>
                    </a:lnTo>
                    <a:lnTo>
                      <a:pt x="314" y="142"/>
                    </a:lnTo>
                    <a:lnTo>
                      <a:pt x="318" y="140"/>
                    </a:lnTo>
                    <a:lnTo>
                      <a:pt x="318" y="140"/>
                    </a:lnTo>
                    <a:lnTo>
                      <a:pt x="324" y="136"/>
                    </a:lnTo>
                    <a:lnTo>
                      <a:pt x="324" y="136"/>
                    </a:lnTo>
                    <a:lnTo>
                      <a:pt x="328" y="130"/>
                    </a:lnTo>
                    <a:lnTo>
                      <a:pt x="328" y="130"/>
                    </a:lnTo>
                    <a:lnTo>
                      <a:pt x="332" y="126"/>
                    </a:lnTo>
                    <a:lnTo>
                      <a:pt x="332" y="126"/>
                    </a:lnTo>
                    <a:lnTo>
                      <a:pt x="338" y="122"/>
                    </a:lnTo>
                    <a:lnTo>
                      <a:pt x="338" y="122"/>
                    </a:lnTo>
                    <a:lnTo>
                      <a:pt x="340" y="120"/>
                    </a:lnTo>
                    <a:lnTo>
                      <a:pt x="20" y="0"/>
                    </a:lnTo>
                    <a:lnTo>
                      <a:pt x="20" y="0"/>
                    </a:lnTo>
                    <a:lnTo>
                      <a:pt x="14"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26" name="Freeform 191"/>
              <p:cNvSpPr/>
              <p:nvPr>
                <p:custDataLst>
                  <p:tags r:id="rId71"/>
                </p:custDataLst>
              </p:nvPr>
            </p:nvSpPr>
            <p:spPr bwMode="auto">
              <a:xfrm>
                <a:off x="3810889" y="3909763"/>
                <a:ext cx="354719" cy="148685"/>
              </a:xfrm>
              <a:custGeom>
                <a:avLst/>
                <a:gdLst>
                  <a:gd name="T0" fmla="*/ 0 w 334"/>
                  <a:gd name="T1" fmla="*/ 22 h 140"/>
                  <a:gd name="T2" fmla="*/ 312 w 334"/>
                  <a:gd name="T3" fmla="*/ 140 h 140"/>
                  <a:gd name="T4" fmla="*/ 312 w 334"/>
                  <a:gd name="T5" fmla="*/ 140 h 140"/>
                  <a:gd name="T6" fmla="*/ 316 w 334"/>
                  <a:gd name="T7" fmla="*/ 136 h 140"/>
                  <a:gd name="T8" fmla="*/ 316 w 334"/>
                  <a:gd name="T9" fmla="*/ 136 h 140"/>
                  <a:gd name="T10" fmla="*/ 320 w 334"/>
                  <a:gd name="T11" fmla="*/ 132 h 140"/>
                  <a:gd name="T12" fmla="*/ 320 w 334"/>
                  <a:gd name="T13" fmla="*/ 132 h 140"/>
                  <a:gd name="T14" fmla="*/ 324 w 334"/>
                  <a:gd name="T15" fmla="*/ 128 h 140"/>
                  <a:gd name="T16" fmla="*/ 324 w 334"/>
                  <a:gd name="T17" fmla="*/ 128 h 140"/>
                  <a:gd name="T18" fmla="*/ 326 w 334"/>
                  <a:gd name="T19" fmla="*/ 122 h 140"/>
                  <a:gd name="T20" fmla="*/ 326 w 334"/>
                  <a:gd name="T21" fmla="*/ 122 h 140"/>
                  <a:gd name="T22" fmla="*/ 330 w 334"/>
                  <a:gd name="T23" fmla="*/ 118 h 140"/>
                  <a:gd name="T24" fmla="*/ 330 w 334"/>
                  <a:gd name="T25" fmla="*/ 118 h 140"/>
                  <a:gd name="T26" fmla="*/ 334 w 334"/>
                  <a:gd name="T27" fmla="*/ 114 h 140"/>
                  <a:gd name="T28" fmla="*/ 28 w 334"/>
                  <a:gd name="T29" fmla="*/ 0 h 140"/>
                  <a:gd name="T30" fmla="*/ 28 w 334"/>
                  <a:gd name="T31" fmla="*/ 0 h 140"/>
                  <a:gd name="T32" fmla="*/ 0 w 334"/>
                  <a:gd name="T33"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40">
                    <a:moveTo>
                      <a:pt x="0" y="22"/>
                    </a:moveTo>
                    <a:lnTo>
                      <a:pt x="312" y="140"/>
                    </a:lnTo>
                    <a:lnTo>
                      <a:pt x="312" y="140"/>
                    </a:lnTo>
                    <a:lnTo>
                      <a:pt x="316" y="136"/>
                    </a:lnTo>
                    <a:lnTo>
                      <a:pt x="316" y="136"/>
                    </a:lnTo>
                    <a:lnTo>
                      <a:pt x="320" y="132"/>
                    </a:lnTo>
                    <a:lnTo>
                      <a:pt x="320" y="132"/>
                    </a:lnTo>
                    <a:lnTo>
                      <a:pt x="324" y="128"/>
                    </a:lnTo>
                    <a:lnTo>
                      <a:pt x="324" y="128"/>
                    </a:lnTo>
                    <a:lnTo>
                      <a:pt x="326" y="122"/>
                    </a:lnTo>
                    <a:lnTo>
                      <a:pt x="326" y="122"/>
                    </a:lnTo>
                    <a:lnTo>
                      <a:pt x="330" y="118"/>
                    </a:lnTo>
                    <a:lnTo>
                      <a:pt x="330" y="118"/>
                    </a:lnTo>
                    <a:lnTo>
                      <a:pt x="334" y="114"/>
                    </a:lnTo>
                    <a:lnTo>
                      <a:pt x="28" y="0"/>
                    </a:lnTo>
                    <a:lnTo>
                      <a:pt x="28" y="0"/>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27" name="Freeform 192"/>
              <p:cNvSpPr/>
              <p:nvPr>
                <p:custDataLst>
                  <p:tags r:id="rId72"/>
                </p:custDataLst>
              </p:nvPr>
            </p:nvSpPr>
            <p:spPr bwMode="auto">
              <a:xfrm>
                <a:off x="3636716" y="4181645"/>
                <a:ext cx="106203" cy="27613"/>
              </a:xfrm>
              <a:custGeom>
                <a:avLst/>
                <a:gdLst>
                  <a:gd name="T0" fmla="*/ 46 w 100"/>
                  <a:gd name="T1" fmla="*/ 6 h 26"/>
                  <a:gd name="T2" fmla="*/ 46 w 100"/>
                  <a:gd name="T3" fmla="*/ 6 h 26"/>
                  <a:gd name="T4" fmla="*/ 22 w 100"/>
                  <a:gd name="T5" fmla="*/ 4 h 26"/>
                  <a:gd name="T6" fmla="*/ 0 w 100"/>
                  <a:gd name="T7" fmla="*/ 0 h 26"/>
                  <a:gd name="T8" fmla="*/ 0 w 100"/>
                  <a:gd name="T9" fmla="*/ 0 h 26"/>
                  <a:gd name="T10" fmla="*/ 100 w 100"/>
                  <a:gd name="T11" fmla="*/ 26 h 26"/>
                  <a:gd name="T12" fmla="*/ 48 w 100"/>
                  <a:gd name="T13" fmla="*/ 6 h 26"/>
                  <a:gd name="T14" fmla="*/ 48 w 100"/>
                  <a:gd name="T15" fmla="*/ 6 h 26"/>
                  <a:gd name="T16" fmla="*/ 46 w 100"/>
                  <a:gd name="T17"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26">
                    <a:moveTo>
                      <a:pt x="46" y="6"/>
                    </a:moveTo>
                    <a:lnTo>
                      <a:pt x="46" y="6"/>
                    </a:lnTo>
                    <a:lnTo>
                      <a:pt x="22" y="4"/>
                    </a:lnTo>
                    <a:lnTo>
                      <a:pt x="0" y="0"/>
                    </a:lnTo>
                    <a:lnTo>
                      <a:pt x="0" y="0"/>
                    </a:lnTo>
                    <a:lnTo>
                      <a:pt x="100" y="26"/>
                    </a:lnTo>
                    <a:lnTo>
                      <a:pt x="48" y="6"/>
                    </a:lnTo>
                    <a:lnTo>
                      <a:pt x="48" y="6"/>
                    </a:lnTo>
                    <a:lnTo>
                      <a:pt x="4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28" name="Freeform 193"/>
              <p:cNvSpPr/>
              <p:nvPr>
                <p:custDataLst>
                  <p:tags r:id="rId73"/>
                </p:custDataLst>
              </p:nvPr>
            </p:nvSpPr>
            <p:spPr bwMode="auto">
              <a:xfrm>
                <a:off x="3942582" y="3788692"/>
                <a:ext cx="303741" cy="135941"/>
              </a:xfrm>
              <a:custGeom>
                <a:avLst/>
                <a:gdLst>
                  <a:gd name="T0" fmla="*/ 0 w 286"/>
                  <a:gd name="T1" fmla="*/ 26 h 128"/>
                  <a:gd name="T2" fmla="*/ 274 w 286"/>
                  <a:gd name="T3" fmla="*/ 128 h 128"/>
                  <a:gd name="T4" fmla="*/ 274 w 286"/>
                  <a:gd name="T5" fmla="*/ 128 h 128"/>
                  <a:gd name="T6" fmla="*/ 276 w 286"/>
                  <a:gd name="T7" fmla="*/ 124 h 128"/>
                  <a:gd name="T8" fmla="*/ 276 w 286"/>
                  <a:gd name="T9" fmla="*/ 124 h 128"/>
                  <a:gd name="T10" fmla="*/ 278 w 286"/>
                  <a:gd name="T11" fmla="*/ 118 h 128"/>
                  <a:gd name="T12" fmla="*/ 278 w 286"/>
                  <a:gd name="T13" fmla="*/ 118 h 128"/>
                  <a:gd name="T14" fmla="*/ 282 w 286"/>
                  <a:gd name="T15" fmla="*/ 112 h 128"/>
                  <a:gd name="T16" fmla="*/ 282 w 286"/>
                  <a:gd name="T17" fmla="*/ 112 h 128"/>
                  <a:gd name="T18" fmla="*/ 284 w 286"/>
                  <a:gd name="T19" fmla="*/ 106 h 128"/>
                  <a:gd name="T20" fmla="*/ 284 w 286"/>
                  <a:gd name="T21" fmla="*/ 106 h 128"/>
                  <a:gd name="T22" fmla="*/ 286 w 286"/>
                  <a:gd name="T23" fmla="*/ 100 h 128"/>
                  <a:gd name="T24" fmla="*/ 22 w 286"/>
                  <a:gd name="T25" fmla="*/ 0 h 128"/>
                  <a:gd name="T26" fmla="*/ 22 w 286"/>
                  <a:gd name="T27" fmla="*/ 0 h 128"/>
                  <a:gd name="T28" fmla="*/ 0 w 286"/>
                  <a:gd name="T29" fmla="*/ 2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128">
                    <a:moveTo>
                      <a:pt x="0" y="26"/>
                    </a:moveTo>
                    <a:lnTo>
                      <a:pt x="274" y="128"/>
                    </a:lnTo>
                    <a:lnTo>
                      <a:pt x="274" y="128"/>
                    </a:lnTo>
                    <a:lnTo>
                      <a:pt x="276" y="124"/>
                    </a:lnTo>
                    <a:lnTo>
                      <a:pt x="276" y="124"/>
                    </a:lnTo>
                    <a:lnTo>
                      <a:pt x="278" y="118"/>
                    </a:lnTo>
                    <a:lnTo>
                      <a:pt x="278" y="118"/>
                    </a:lnTo>
                    <a:lnTo>
                      <a:pt x="282" y="112"/>
                    </a:lnTo>
                    <a:lnTo>
                      <a:pt x="282" y="112"/>
                    </a:lnTo>
                    <a:lnTo>
                      <a:pt x="284" y="106"/>
                    </a:lnTo>
                    <a:lnTo>
                      <a:pt x="284" y="106"/>
                    </a:lnTo>
                    <a:lnTo>
                      <a:pt x="286" y="100"/>
                    </a:lnTo>
                    <a:lnTo>
                      <a:pt x="22" y="0"/>
                    </a:lnTo>
                    <a:lnTo>
                      <a:pt x="22" y="0"/>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29" name="Freeform 194"/>
              <p:cNvSpPr/>
              <p:nvPr>
                <p:custDataLst>
                  <p:tags r:id="rId74"/>
                </p:custDataLst>
              </p:nvPr>
            </p:nvSpPr>
            <p:spPr bwMode="auto">
              <a:xfrm>
                <a:off x="3745044" y="4041455"/>
                <a:ext cx="293121" cy="131692"/>
              </a:xfrm>
              <a:custGeom>
                <a:avLst/>
                <a:gdLst>
                  <a:gd name="T0" fmla="*/ 6 w 276"/>
                  <a:gd name="T1" fmla="*/ 36 h 124"/>
                  <a:gd name="T2" fmla="*/ 242 w 276"/>
                  <a:gd name="T3" fmla="*/ 124 h 124"/>
                  <a:gd name="T4" fmla="*/ 242 w 276"/>
                  <a:gd name="T5" fmla="*/ 124 h 124"/>
                  <a:gd name="T6" fmla="*/ 248 w 276"/>
                  <a:gd name="T7" fmla="*/ 122 h 124"/>
                  <a:gd name="T8" fmla="*/ 248 w 276"/>
                  <a:gd name="T9" fmla="*/ 122 h 124"/>
                  <a:gd name="T10" fmla="*/ 254 w 276"/>
                  <a:gd name="T11" fmla="*/ 118 h 124"/>
                  <a:gd name="T12" fmla="*/ 254 w 276"/>
                  <a:gd name="T13" fmla="*/ 118 h 124"/>
                  <a:gd name="T14" fmla="*/ 262 w 276"/>
                  <a:gd name="T15" fmla="*/ 112 h 124"/>
                  <a:gd name="T16" fmla="*/ 262 w 276"/>
                  <a:gd name="T17" fmla="*/ 112 h 124"/>
                  <a:gd name="T18" fmla="*/ 268 w 276"/>
                  <a:gd name="T19" fmla="*/ 108 h 124"/>
                  <a:gd name="T20" fmla="*/ 268 w 276"/>
                  <a:gd name="T21" fmla="*/ 108 h 124"/>
                  <a:gd name="T22" fmla="*/ 276 w 276"/>
                  <a:gd name="T23" fmla="*/ 104 h 124"/>
                  <a:gd name="T24" fmla="*/ 0 w 276"/>
                  <a:gd name="T25" fmla="*/ 0 h 124"/>
                  <a:gd name="T26" fmla="*/ 0 w 276"/>
                  <a:gd name="T27" fmla="*/ 0 h 124"/>
                  <a:gd name="T28" fmla="*/ 6 w 276"/>
                  <a:gd name="T29" fmla="*/ 3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 h="124">
                    <a:moveTo>
                      <a:pt x="6" y="36"/>
                    </a:moveTo>
                    <a:lnTo>
                      <a:pt x="242" y="124"/>
                    </a:lnTo>
                    <a:lnTo>
                      <a:pt x="242" y="124"/>
                    </a:lnTo>
                    <a:lnTo>
                      <a:pt x="248" y="122"/>
                    </a:lnTo>
                    <a:lnTo>
                      <a:pt x="248" y="122"/>
                    </a:lnTo>
                    <a:lnTo>
                      <a:pt x="254" y="118"/>
                    </a:lnTo>
                    <a:lnTo>
                      <a:pt x="254" y="118"/>
                    </a:lnTo>
                    <a:lnTo>
                      <a:pt x="262" y="112"/>
                    </a:lnTo>
                    <a:lnTo>
                      <a:pt x="262" y="112"/>
                    </a:lnTo>
                    <a:lnTo>
                      <a:pt x="268" y="108"/>
                    </a:lnTo>
                    <a:lnTo>
                      <a:pt x="268" y="108"/>
                    </a:lnTo>
                    <a:lnTo>
                      <a:pt x="276" y="104"/>
                    </a:lnTo>
                    <a:lnTo>
                      <a:pt x="0" y="0"/>
                    </a:lnTo>
                    <a:lnTo>
                      <a:pt x="0" y="0"/>
                    </a:lnTo>
                    <a:lnTo>
                      <a:pt x="6"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0" name="Freeform 195"/>
              <p:cNvSpPr/>
              <p:nvPr>
                <p:custDataLst>
                  <p:tags r:id="rId75"/>
                </p:custDataLst>
              </p:nvPr>
            </p:nvSpPr>
            <p:spPr bwMode="auto">
              <a:xfrm>
                <a:off x="3764160" y="4132791"/>
                <a:ext cx="178422" cy="82839"/>
              </a:xfrm>
              <a:custGeom>
                <a:avLst/>
                <a:gdLst>
                  <a:gd name="T0" fmla="*/ 0 w 168"/>
                  <a:gd name="T1" fmla="*/ 32 h 78"/>
                  <a:gd name="T2" fmla="*/ 118 w 168"/>
                  <a:gd name="T3" fmla="*/ 78 h 78"/>
                  <a:gd name="T4" fmla="*/ 118 w 168"/>
                  <a:gd name="T5" fmla="*/ 78 h 78"/>
                  <a:gd name="T6" fmla="*/ 142 w 168"/>
                  <a:gd name="T7" fmla="*/ 72 h 78"/>
                  <a:gd name="T8" fmla="*/ 142 w 168"/>
                  <a:gd name="T9" fmla="*/ 72 h 78"/>
                  <a:gd name="T10" fmla="*/ 168 w 168"/>
                  <a:gd name="T11" fmla="*/ 64 h 78"/>
                  <a:gd name="T12" fmla="*/ 0 w 168"/>
                  <a:gd name="T13" fmla="*/ 0 h 78"/>
                  <a:gd name="T14" fmla="*/ 0 w 168"/>
                  <a:gd name="T15" fmla="*/ 0 h 78"/>
                  <a:gd name="T16" fmla="*/ 0 w 168"/>
                  <a:gd name="T17" fmla="*/ 18 h 78"/>
                  <a:gd name="T18" fmla="*/ 0 w 168"/>
                  <a:gd name="T19"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78">
                    <a:moveTo>
                      <a:pt x="0" y="32"/>
                    </a:moveTo>
                    <a:lnTo>
                      <a:pt x="118" y="78"/>
                    </a:lnTo>
                    <a:lnTo>
                      <a:pt x="118" y="78"/>
                    </a:lnTo>
                    <a:lnTo>
                      <a:pt x="142" y="72"/>
                    </a:lnTo>
                    <a:lnTo>
                      <a:pt x="142" y="72"/>
                    </a:lnTo>
                    <a:lnTo>
                      <a:pt x="168" y="64"/>
                    </a:lnTo>
                    <a:lnTo>
                      <a:pt x="0" y="0"/>
                    </a:lnTo>
                    <a:lnTo>
                      <a:pt x="0" y="0"/>
                    </a:lnTo>
                    <a:lnTo>
                      <a:pt x="0" y="18"/>
                    </a:lnTo>
                    <a:lnTo>
                      <a:pt x="0" y="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1" name="Freeform 196"/>
              <p:cNvSpPr/>
              <p:nvPr>
                <p:custDataLst>
                  <p:tags r:id="rId76"/>
                </p:custDataLst>
              </p:nvPr>
            </p:nvSpPr>
            <p:spPr bwMode="auto">
              <a:xfrm>
                <a:off x="4127376" y="3518936"/>
                <a:ext cx="182669" cy="97707"/>
              </a:xfrm>
              <a:custGeom>
                <a:avLst/>
                <a:gdLst>
                  <a:gd name="T0" fmla="*/ 170 w 172"/>
                  <a:gd name="T1" fmla="*/ 72 h 92"/>
                  <a:gd name="T2" fmla="*/ 170 w 172"/>
                  <a:gd name="T3" fmla="*/ 72 h 92"/>
                  <a:gd name="T4" fmla="*/ 170 w 172"/>
                  <a:gd name="T5" fmla="*/ 60 h 92"/>
                  <a:gd name="T6" fmla="*/ 10 w 172"/>
                  <a:gd name="T7" fmla="*/ 0 h 92"/>
                  <a:gd name="T8" fmla="*/ 10 w 172"/>
                  <a:gd name="T9" fmla="*/ 0 h 92"/>
                  <a:gd name="T10" fmla="*/ 0 w 172"/>
                  <a:gd name="T11" fmla="*/ 28 h 92"/>
                  <a:gd name="T12" fmla="*/ 170 w 172"/>
                  <a:gd name="T13" fmla="*/ 92 h 92"/>
                  <a:gd name="T14" fmla="*/ 170 w 172"/>
                  <a:gd name="T15" fmla="*/ 92 h 92"/>
                  <a:gd name="T16" fmla="*/ 172 w 172"/>
                  <a:gd name="T17" fmla="*/ 86 h 92"/>
                  <a:gd name="T18" fmla="*/ 172 w 172"/>
                  <a:gd name="T19" fmla="*/ 86 h 92"/>
                  <a:gd name="T20" fmla="*/ 170 w 172"/>
                  <a:gd name="T21"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 h="92">
                    <a:moveTo>
                      <a:pt x="170" y="72"/>
                    </a:moveTo>
                    <a:lnTo>
                      <a:pt x="170" y="72"/>
                    </a:lnTo>
                    <a:lnTo>
                      <a:pt x="170" y="60"/>
                    </a:lnTo>
                    <a:lnTo>
                      <a:pt x="10" y="0"/>
                    </a:lnTo>
                    <a:lnTo>
                      <a:pt x="10" y="0"/>
                    </a:lnTo>
                    <a:lnTo>
                      <a:pt x="0" y="28"/>
                    </a:lnTo>
                    <a:lnTo>
                      <a:pt x="170" y="92"/>
                    </a:lnTo>
                    <a:lnTo>
                      <a:pt x="170" y="92"/>
                    </a:lnTo>
                    <a:lnTo>
                      <a:pt x="172" y="86"/>
                    </a:lnTo>
                    <a:lnTo>
                      <a:pt x="172" y="86"/>
                    </a:lnTo>
                    <a:lnTo>
                      <a:pt x="17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2" name="Freeform 197"/>
              <p:cNvSpPr/>
              <p:nvPr>
                <p:custDataLst>
                  <p:tags r:id="rId77"/>
                </p:custDataLst>
              </p:nvPr>
            </p:nvSpPr>
            <p:spPr bwMode="auto">
              <a:xfrm>
                <a:off x="4146492" y="3353257"/>
                <a:ext cx="133816" cy="87086"/>
              </a:xfrm>
              <a:custGeom>
                <a:avLst/>
                <a:gdLst>
                  <a:gd name="T0" fmla="*/ 6 w 126"/>
                  <a:gd name="T1" fmla="*/ 36 h 82"/>
                  <a:gd name="T2" fmla="*/ 126 w 126"/>
                  <a:gd name="T3" fmla="*/ 82 h 82"/>
                  <a:gd name="T4" fmla="*/ 126 w 126"/>
                  <a:gd name="T5" fmla="*/ 82 h 82"/>
                  <a:gd name="T6" fmla="*/ 126 w 126"/>
                  <a:gd name="T7" fmla="*/ 78 h 82"/>
                  <a:gd name="T8" fmla="*/ 126 w 126"/>
                  <a:gd name="T9" fmla="*/ 78 h 82"/>
                  <a:gd name="T10" fmla="*/ 124 w 126"/>
                  <a:gd name="T11" fmla="*/ 70 h 82"/>
                  <a:gd name="T12" fmla="*/ 124 w 126"/>
                  <a:gd name="T13" fmla="*/ 70 h 82"/>
                  <a:gd name="T14" fmla="*/ 120 w 126"/>
                  <a:gd name="T15" fmla="*/ 64 h 82"/>
                  <a:gd name="T16" fmla="*/ 120 w 126"/>
                  <a:gd name="T17" fmla="*/ 64 h 82"/>
                  <a:gd name="T18" fmla="*/ 118 w 126"/>
                  <a:gd name="T19" fmla="*/ 56 h 82"/>
                  <a:gd name="T20" fmla="*/ 118 w 126"/>
                  <a:gd name="T21" fmla="*/ 56 h 82"/>
                  <a:gd name="T22" fmla="*/ 114 w 126"/>
                  <a:gd name="T23" fmla="*/ 50 h 82"/>
                  <a:gd name="T24" fmla="*/ 114 w 126"/>
                  <a:gd name="T25" fmla="*/ 50 h 82"/>
                  <a:gd name="T26" fmla="*/ 112 w 126"/>
                  <a:gd name="T27" fmla="*/ 44 h 82"/>
                  <a:gd name="T28" fmla="*/ 112 w 126"/>
                  <a:gd name="T29" fmla="*/ 42 h 82"/>
                  <a:gd name="T30" fmla="*/ 0 w 126"/>
                  <a:gd name="T31" fmla="*/ 0 h 82"/>
                  <a:gd name="T32" fmla="*/ 0 w 126"/>
                  <a:gd name="T33" fmla="*/ 0 h 82"/>
                  <a:gd name="T34" fmla="*/ 4 w 126"/>
                  <a:gd name="T35" fmla="*/ 18 h 82"/>
                  <a:gd name="T36" fmla="*/ 6 w 126"/>
                  <a:gd name="T37" fmla="*/ 3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82">
                    <a:moveTo>
                      <a:pt x="6" y="36"/>
                    </a:moveTo>
                    <a:lnTo>
                      <a:pt x="126" y="82"/>
                    </a:lnTo>
                    <a:lnTo>
                      <a:pt x="126" y="82"/>
                    </a:lnTo>
                    <a:lnTo>
                      <a:pt x="126" y="78"/>
                    </a:lnTo>
                    <a:lnTo>
                      <a:pt x="126" y="78"/>
                    </a:lnTo>
                    <a:lnTo>
                      <a:pt x="124" y="70"/>
                    </a:lnTo>
                    <a:lnTo>
                      <a:pt x="124" y="70"/>
                    </a:lnTo>
                    <a:lnTo>
                      <a:pt x="120" y="64"/>
                    </a:lnTo>
                    <a:lnTo>
                      <a:pt x="120" y="64"/>
                    </a:lnTo>
                    <a:lnTo>
                      <a:pt x="118" y="56"/>
                    </a:lnTo>
                    <a:lnTo>
                      <a:pt x="118" y="56"/>
                    </a:lnTo>
                    <a:lnTo>
                      <a:pt x="114" y="50"/>
                    </a:lnTo>
                    <a:lnTo>
                      <a:pt x="114" y="50"/>
                    </a:lnTo>
                    <a:lnTo>
                      <a:pt x="112" y="44"/>
                    </a:lnTo>
                    <a:lnTo>
                      <a:pt x="112" y="42"/>
                    </a:lnTo>
                    <a:lnTo>
                      <a:pt x="0" y="0"/>
                    </a:lnTo>
                    <a:lnTo>
                      <a:pt x="0" y="0"/>
                    </a:lnTo>
                    <a:lnTo>
                      <a:pt x="4" y="18"/>
                    </a:lnTo>
                    <a:lnTo>
                      <a:pt x="6"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3" name="Freeform 198"/>
              <p:cNvSpPr/>
              <p:nvPr>
                <p:custDataLst>
                  <p:tags r:id="rId78"/>
                </p:custDataLst>
              </p:nvPr>
            </p:nvSpPr>
            <p:spPr bwMode="auto">
              <a:xfrm>
                <a:off x="4087018" y="3247054"/>
                <a:ext cx="142313" cy="89211"/>
              </a:xfrm>
              <a:custGeom>
                <a:avLst/>
                <a:gdLst>
                  <a:gd name="T0" fmla="*/ 134 w 134"/>
                  <a:gd name="T1" fmla="*/ 84 h 84"/>
                  <a:gd name="T2" fmla="*/ 134 w 134"/>
                  <a:gd name="T3" fmla="*/ 84 h 84"/>
                  <a:gd name="T4" fmla="*/ 134 w 134"/>
                  <a:gd name="T5" fmla="*/ 84 h 84"/>
                  <a:gd name="T6" fmla="*/ 130 w 134"/>
                  <a:gd name="T7" fmla="*/ 80 h 84"/>
                  <a:gd name="T8" fmla="*/ 130 w 134"/>
                  <a:gd name="T9" fmla="*/ 80 h 84"/>
                  <a:gd name="T10" fmla="*/ 128 w 134"/>
                  <a:gd name="T11" fmla="*/ 76 h 84"/>
                  <a:gd name="T12" fmla="*/ 128 w 134"/>
                  <a:gd name="T13" fmla="*/ 76 h 84"/>
                  <a:gd name="T14" fmla="*/ 124 w 134"/>
                  <a:gd name="T15" fmla="*/ 72 h 84"/>
                  <a:gd name="T16" fmla="*/ 124 w 134"/>
                  <a:gd name="T17" fmla="*/ 72 h 84"/>
                  <a:gd name="T18" fmla="*/ 122 w 134"/>
                  <a:gd name="T19" fmla="*/ 68 h 84"/>
                  <a:gd name="T20" fmla="*/ 122 w 134"/>
                  <a:gd name="T21" fmla="*/ 68 h 84"/>
                  <a:gd name="T22" fmla="*/ 118 w 134"/>
                  <a:gd name="T23" fmla="*/ 64 h 84"/>
                  <a:gd name="T24" fmla="*/ 118 w 134"/>
                  <a:gd name="T25" fmla="*/ 64 h 84"/>
                  <a:gd name="T26" fmla="*/ 116 w 134"/>
                  <a:gd name="T27" fmla="*/ 60 h 84"/>
                  <a:gd name="T28" fmla="*/ 116 w 134"/>
                  <a:gd name="T29" fmla="*/ 60 h 84"/>
                  <a:gd name="T30" fmla="*/ 112 w 134"/>
                  <a:gd name="T31" fmla="*/ 56 h 84"/>
                  <a:gd name="T32" fmla="*/ 112 w 134"/>
                  <a:gd name="T33" fmla="*/ 56 h 84"/>
                  <a:gd name="T34" fmla="*/ 110 w 134"/>
                  <a:gd name="T35" fmla="*/ 52 h 84"/>
                  <a:gd name="T36" fmla="*/ 110 w 134"/>
                  <a:gd name="T37" fmla="*/ 52 h 84"/>
                  <a:gd name="T38" fmla="*/ 106 w 134"/>
                  <a:gd name="T39" fmla="*/ 50 h 84"/>
                  <a:gd name="T40" fmla="*/ 106 w 134"/>
                  <a:gd name="T41" fmla="*/ 50 h 84"/>
                  <a:gd name="T42" fmla="*/ 102 w 134"/>
                  <a:gd name="T43" fmla="*/ 46 h 84"/>
                  <a:gd name="T44" fmla="*/ 102 w 134"/>
                  <a:gd name="T45" fmla="*/ 46 h 84"/>
                  <a:gd name="T46" fmla="*/ 100 w 134"/>
                  <a:gd name="T47" fmla="*/ 42 h 84"/>
                  <a:gd name="T48" fmla="*/ 100 w 134"/>
                  <a:gd name="T49" fmla="*/ 42 h 84"/>
                  <a:gd name="T50" fmla="*/ 96 w 134"/>
                  <a:gd name="T51" fmla="*/ 40 h 84"/>
                  <a:gd name="T52" fmla="*/ 96 w 134"/>
                  <a:gd name="T53" fmla="*/ 40 h 84"/>
                  <a:gd name="T54" fmla="*/ 94 w 134"/>
                  <a:gd name="T55" fmla="*/ 36 h 84"/>
                  <a:gd name="T56" fmla="*/ 92 w 134"/>
                  <a:gd name="T57" fmla="*/ 36 h 84"/>
                  <a:gd name="T58" fmla="*/ 0 w 134"/>
                  <a:gd name="T59" fmla="*/ 0 h 84"/>
                  <a:gd name="T60" fmla="*/ 0 w 134"/>
                  <a:gd name="T61" fmla="*/ 0 h 84"/>
                  <a:gd name="T62" fmla="*/ 18 w 134"/>
                  <a:gd name="T63" fmla="*/ 22 h 84"/>
                  <a:gd name="T64" fmla="*/ 32 w 134"/>
                  <a:gd name="T65" fmla="*/ 46 h 84"/>
                  <a:gd name="T66" fmla="*/ 134 w 134"/>
                  <a:gd name="T6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84">
                    <a:moveTo>
                      <a:pt x="134" y="84"/>
                    </a:moveTo>
                    <a:lnTo>
                      <a:pt x="134" y="84"/>
                    </a:lnTo>
                    <a:lnTo>
                      <a:pt x="134" y="84"/>
                    </a:lnTo>
                    <a:lnTo>
                      <a:pt x="130" y="80"/>
                    </a:lnTo>
                    <a:lnTo>
                      <a:pt x="130" y="80"/>
                    </a:lnTo>
                    <a:lnTo>
                      <a:pt x="128" y="76"/>
                    </a:lnTo>
                    <a:lnTo>
                      <a:pt x="128" y="76"/>
                    </a:lnTo>
                    <a:lnTo>
                      <a:pt x="124" y="72"/>
                    </a:lnTo>
                    <a:lnTo>
                      <a:pt x="124" y="72"/>
                    </a:lnTo>
                    <a:lnTo>
                      <a:pt x="122" y="68"/>
                    </a:lnTo>
                    <a:lnTo>
                      <a:pt x="122" y="68"/>
                    </a:lnTo>
                    <a:lnTo>
                      <a:pt x="118" y="64"/>
                    </a:lnTo>
                    <a:lnTo>
                      <a:pt x="118" y="64"/>
                    </a:lnTo>
                    <a:lnTo>
                      <a:pt x="116" y="60"/>
                    </a:lnTo>
                    <a:lnTo>
                      <a:pt x="116" y="60"/>
                    </a:lnTo>
                    <a:lnTo>
                      <a:pt x="112" y="56"/>
                    </a:lnTo>
                    <a:lnTo>
                      <a:pt x="112" y="56"/>
                    </a:lnTo>
                    <a:lnTo>
                      <a:pt x="110" y="52"/>
                    </a:lnTo>
                    <a:lnTo>
                      <a:pt x="110" y="52"/>
                    </a:lnTo>
                    <a:lnTo>
                      <a:pt x="106" y="50"/>
                    </a:lnTo>
                    <a:lnTo>
                      <a:pt x="106" y="50"/>
                    </a:lnTo>
                    <a:lnTo>
                      <a:pt x="102" y="46"/>
                    </a:lnTo>
                    <a:lnTo>
                      <a:pt x="102" y="46"/>
                    </a:lnTo>
                    <a:lnTo>
                      <a:pt x="100" y="42"/>
                    </a:lnTo>
                    <a:lnTo>
                      <a:pt x="100" y="42"/>
                    </a:lnTo>
                    <a:lnTo>
                      <a:pt x="96" y="40"/>
                    </a:lnTo>
                    <a:lnTo>
                      <a:pt x="96" y="40"/>
                    </a:lnTo>
                    <a:lnTo>
                      <a:pt x="94" y="36"/>
                    </a:lnTo>
                    <a:lnTo>
                      <a:pt x="92" y="36"/>
                    </a:lnTo>
                    <a:lnTo>
                      <a:pt x="0" y="0"/>
                    </a:lnTo>
                    <a:lnTo>
                      <a:pt x="0" y="0"/>
                    </a:lnTo>
                    <a:lnTo>
                      <a:pt x="18" y="22"/>
                    </a:lnTo>
                    <a:lnTo>
                      <a:pt x="32" y="46"/>
                    </a:lnTo>
                    <a:lnTo>
                      <a:pt x="134" y="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4" name="Freeform 199"/>
              <p:cNvSpPr/>
              <p:nvPr>
                <p:custDataLst>
                  <p:tags r:id="rId79"/>
                </p:custDataLst>
              </p:nvPr>
            </p:nvSpPr>
            <p:spPr bwMode="auto">
              <a:xfrm>
                <a:off x="4148616" y="3440345"/>
                <a:ext cx="155057" cy="91335"/>
              </a:xfrm>
              <a:custGeom>
                <a:avLst/>
                <a:gdLst>
                  <a:gd name="T0" fmla="*/ 0 w 146"/>
                  <a:gd name="T1" fmla="*/ 32 h 86"/>
                  <a:gd name="T2" fmla="*/ 146 w 146"/>
                  <a:gd name="T3" fmla="*/ 86 h 86"/>
                  <a:gd name="T4" fmla="*/ 146 w 146"/>
                  <a:gd name="T5" fmla="*/ 86 h 86"/>
                  <a:gd name="T6" fmla="*/ 144 w 146"/>
                  <a:gd name="T7" fmla="*/ 72 h 86"/>
                  <a:gd name="T8" fmla="*/ 144 w 146"/>
                  <a:gd name="T9" fmla="*/ 72 h 86"/>
                  <a:gd name="T10" fmla="*/ 140 w 146"/>
                  <a:gd name="T11" fmla="*/ 54 h 86"/>
                  <a:gd name="T12" fmla="*/ 140 w 146"/>
                  <a:gd name="T13" fmla="*/ 54 h 86"/>
                  <a:gd name="T14" fmla="*/ 140 w 146"/>
                  <a:gd name="T15" fmla="*/ 50 h 86"/>
                  <a:gd name="T16" fmla="*/ 4 w 146"/>
                  <a:gd name="T17" fmla="*/ 0 h 86"/>
                  <a:gd name="T18" fmla="*/ 4 w 146"/>
                  <a:gd name="T19" fmla="*/ 0 h 86"/>
                  <a:gd name="T20" fmla="*/ 0 w 146"/>
                  <a:gd name="T21" fmla="*/ 3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86">
                    <a:moveTo>
                      <a:pt x="0" y="32"/>
                    </a:moveTo>
                    <a:lnTo>
                      <a:pt x="146" y="86"/>
                    </a:lnTo>
                    <a:lnTo>
                      <a:pt x="146" y="86"/>
                    </a:lnTo>
                    <a:lnTo>
                      <a:pt x="144" y="72"/>
                    </a:lnTo>
                    <a:lnTo>
                      <a:pt x="144" y="72"/>
                    </a:lnTo>
                    <a:lnTo>
                      <a:pt x="140" y="54"/>
                    </a:lnTo>
                    <a:lnTo>
                      <a:pt x="140" y="54"/>
                    </a:lnTo>
                    <a:lnTo>
                      <a:pt x="140" y="50"/>
                    </a:lnTo>
                    <a:lnTo>
                      <a:pt x="4" y="0"/>
                    </a:lnTo>
                    <a:lnTo>
                      <a:pt x="4" y="0"/>
                    </a:lnTo>
                    <a:lnTo>
                      <a:pt x="0" y="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5" name="Freeform 200"/>
              <p:cNvSpPr/>
              <p:nvPr>
                <p:custDataLst>
                  <p:tags r:id="rId80"/>
                </p:custDataLst>
              </p:nvPr>
            </p:nvSpPr>
            <p:spPr bwMode="auto">
              <a:xfrm>
                <a:off x="3999932" y="3727094"/>
                <a:ext cx="276129" cy="125320"/>
              </a:xfrm>
              <a:custGeom>
                <a:avLst/>
                <a:gdLst>
                  <a:gd name="T0" fmla="*/ 0 w 260"/>
                  <a:gd name="T1" fmla="*/ 24 h 118"/>
                  <a:gd name="T2" fmla="*/ 250 w 260"/>
                  <a:gd name="T3" fmla="*/ 118 h 118"/>
                  <a:gd name="T4" fmla="*/ 250 w 260"/>
                  <a:gd name="T5" fmla="*/ 116 h 118"/>
                  <a:gd name="T6" fmla="*/ 250 w 260"/>
                  <a:gd name="T7" fmla="*/ 114 h 118"/>
                  <a:gd name="T8" fmla="*/ 252 w 260"/>
                  <a:gd name="T9" fmla="*/ 112 h 118"/>
                  <a:gd name="T10" fmla="*/ 252 w 260"/>
                  <a:gd name="T11" fmla="*/ 110 h 118"/>
                  <a:gd name="T12" fmla="*/ 252 w 260"/>
                  <a:gd name="T13" fmla="*/ 108 h 118"/>
                  <a:gd name="T14" fmla="*/ 252 w 260"/>
                  <a:gd name="T15" fmla="*/ 108 h 118"/>
                  <a:gd name="T16" fmla="*/ 254 w 260"/>
                  <a:gd name="T17" fmla="*/ 102 h 118"/>
                  <a:gd name="T18" fmla="*/ 254 w 260"/>
                  <a:gd name="T19" fmla="*/ 102 h 118"/>
                  <a:gd name="T20" fmla="*/ 256 w 260"/>
                  <a:gd name="T21" fmla="*/ 96 h 118"/>
                  <a:gd name="T22" fmla="*/ 256 w 260"/>
                  <a:gd name="T23" fmla="*/ 96 h 118"/>
                  <a:gd name="T24" fmla="*/ 258 w 260"/>
                  <a:gd name="T25" fmla="*/ 90 h 118"/>
                  <a:gd name="T26" fmla="*/ 260 w 260"/>
                  <a:gd name="T27" fmla="*/ 90 h 118"/>
                  <a:gd name="T28" fmla="*/ 20 w 260"/>
                  <a:gd name="T29" fmla="*/ 0 h 118"/>
                  <a:gd name="T30" fmla="*/ 20 w 260"/>
                  <a:gd name="T31" fmla="*/ 0 h 118"/>
                  <a:gd name="T32" fmla="*/ 0 w 260"/>
                  <a:gd name="T33" fmla="*/ 2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0" h="118">
                    <a:moveTo>
                      <a:pt x="0" y="24"/>
                    </a:moveTo>
                    <a:lnTo>
                      <a:pt x="250" y="118"/>
                    </a:lnTo>
                    <a:lnTo>
                      <a:pt x="250" y="116"/>
                    </a:lnTo>
                    <a:lnTo>
                      <a:pt x="250" y="114"/>
                    </a:lnTo>
                    <a:lnTo>
                      <a:pt x="252" y="112"/>
                    </a:lnTo>
                    <a:lnTo>
                      <a:pt x="252" y="110"/>
                    </a:lnTo>
                    <a:lnTo>
                      <a:pt x="252" y="108"/>
                    </a:lnTo>
                    <a:lnTo>
                      <a:pt x="252" y="108"/>
                    </a:lnTo>
                    <a:lnTo>
                      <a:pt x="254" y="102"/>
                    </a:lnTo>
                    <a:lnTo>
                      <a:pt x="254" y="102"/>
                    </a:lnTo>
                    <a:lnTo>
                      <a:pt x="256" y="96"/>
                    </a:lnTo>
                    <a:lnTo>
                      <a:pt x="256" y="96"/>
                    </a:lnTo>
                    <a:lnTo>
                      <a:pt x="258" y="90"/>
                    </a:lnTo>
                    <a:lnTo>
                      <a:pt x="260" y="90"/>
                    </a:lnTo>
                    <a:lnTo>
                      <a:pt x="20" y="0"/>
                    </a:lnTo>
                    <a:lnTo>
                      <a:pt x="20" y="0"/>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6" name="Freeform 201"/>
              <p:cNvSpPr/>
              <p:nvPr>
                <p:custDataLst>
                  <p:tags r:id="rId81"/>
                </p:custDataLst>
              </p:nvPr>
            </p:nvSpPr>
            <p:spPr bwMode="auto">
              <a:xfrm>
                <a:off x="4048785" y="3661248"/>
                <a:ext cx="246391" cy="116824"/>
              </a:xfrm>
              <a:custGeom>
                <a:avLst/>
                <a:gdLst>
                  <a:gd name="T0" fmla="*/ 0 w 232"/>
                  <a:gd name="T1" fmla="*/ 26 h 110"/>
                  <a:gd name="T2" fmla="*/ 226 w 232"/>
                  <a:gd name="T3" fmla="*/ 110 h 110"/>
                  <a:gd name="T4" fmla="*/ 226 w 232"/>
                  <a:gd name="T5" fmla="*/ 110 h 110"/>
                  <a:gd name="T6" fmla="*/ 228 w 232"/>
                  <a:gd name="T7" fmla="*/ 100 h 110"/>
                  <a:gd name="T8" fmla="*/ 228 w 232"/>
                  <a:gd name="T9" fmla="*/ 100 h 110"/>
                  <a:gd name="T10" fmla="*/ 230 w 232"/>
                  <a:gd name="T11" fmla="*/ 88 h 110"/>
                  <a:gd name="T12" fmla="*/ 230 w 232"/>
                  <a:gd name="T13" fmla="*/ 88 h 110"/>
                  <a:gd name="T14" fmla="*/ 232 w 232"/>
                  <a:gd name="T15" fmla="*/ 80 h 110"/>
                  <a:gd name="T16" fmla="*/ 18 w 232"/>
                  <a:gd name="T17" fmla="*/ 0 h 110"/>
                  <a:gd name="T18" fmla="*/ 18 w 232"/>
                  <a:gd name="T19" fmla="*/ 0 h 110"/>
                  <a:gd name="T20" fmla="*/ 0 w 232"/>
                  <a:gd name="T21" fmla="*/ 2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2" h="110">
                    <a:moveTo>
                      <a:pt x="0" y="26"/>
                    </a:moveTo>
                    <a:lnTo>
                      <a:pt x="226" y="110"/>
                    </a:lnTo>
                    <a:lnTo>
                      <a:pt x="226" y="110"/>
                    </a:lnTo>
                    <a:lnTo>
                      <a:pt x="228" y="100"/>
                    </a:lnTo>
                    <a:lnTo>
                      <a:pt x="228" y="100"/>
                    </a:lnTo>
                    <a:lnTo>
                      <a:pt x="230" y="88"/>
                    </a:lnTo>
                    <a:lnTo>
                      <a:pt x="230" y="88"/>
                    </a:lnTo>
                    <a:lnTo>
                      <a:pt x="232" y="80"/>
                    </a:lnTo>
                    <a:lnTo>
                      <a:pt x="18" y="0"/>
                    </a:lnTo>
                    <a:lnTo>
                      <a:pt x="18" y="0"/>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7" name="Freeform 202"/>
              <p:cNvSpPr/>
              <p:nvPr>
                <p:custDataLst>
                  <p:tags r:id="rId82"/>
                </p:custDataLst>
              </p:nvPr>
            </p:nvSpPr>
            <p:spPr bwMode="auto">
              <a:xfrm>
                <a:off x="4093390" y="3591153"/>
                <a:ext cx="214530" cy="108327"/>
              </a:xfrm>
              <a:custGeom>
                <a:avLst/>
                <a:gdLst>
                  <a:gd name="T0" fmla="*/ 0 w 202"/>
                  <a:gd name="T1" fmla="*/ 28 h 102"/>
                  <a:gd name="T2" fmla="*/ 198 w 202"/>
                  <a:gd name="T3" fmla="*/ 102 h 102"/>
                  <a:gd name="T4" fmla="*/ 198 w 202"/>
                  <a:gd name="T5" fmla="*/ 102 h 102"/>
                  <a:gd name="T6" fmla="*/ 200 w 202"/>
                  <a:gd name="T7" fmla="*/ 90 h 102"/>
                  <a:gd name="T8" fmla="*/ 200 w 202"/>
                  <a:gd name="T9" fmla="*/ 90 h 102"/>
                  <a:gd name="T10" fmla="*/ 202 w 202"/>
                  <a:gd name="T11" fmla="*/ 70 h 102"/>
                  <a:gd name="T12" fmla="*/ 14 w 202"/>
                  <a:gd name="T13" fmla="*/ 0 h 102"/>
                  <a:gd name="T14" fmla="*/ 14 w 202"/>
                  <a:gd name="T15" fmla="*/ 0 h 102"/>
                  <a:gd name="T16" fmla="*/ 0 w 202"/>
                  <a:gd name="T17"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102">
                    <a:moveTo>
                      <a:pt x="0" y="28"/>
                    </a:moveTo>
                    <a:lnTo>
                      <a:pt x="198" y="102"/>
                    </a:lnTo>
                    <a:lnTo>
                      <a:pt x="198" y="102"/>
                    </a:lnTo>
                    <a:lnTo>
                      <a:pt x="200" y="90"/>
                    </a:lnTo>
                    <a:lnTo>
                      <a:pt x="200" y="90"/>
                    </a:lnTo>
                    <a:lnTo>
                      <a:pt x="202" y="70"/>
                    </a:lnTo>
                    <a:lnTo>
                      <a:pt x="14" y="0"/>
                    </a:lnTo>
                    <a:lnTo>
                      <a:pt x="14" y="0"/>
                    </a:lnTo>
                    <a:lnTo>
                      <a:pt x="0"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8" name="Freeform 203"/>
              <p:cNvSpPr/>
              <p:nvPr>
                <p:custDataLst>
                  <p:tags r:id="rId83"/>
                </p:custDataLst>
              </p:nvPr>
            </p:nvSpPr>
            <p:spPr bwMode="auto">
              <a:xfrm>
                <a:off x="3381828" y="3151471"/>
                <a:ext cx="811393" cy="1036545"/>
              </a:xfrm>
              <a:custGeom>
                <a:avLst/>
                <a:gdLst>
                  <a:gd name="T0" fmla="*/ 532 w 764"/>
                  <a:gd name="T1" fmla="*/ 10 h 976"/>
                  <a:gd name="T2" fmla="*/ 568 w 764"/>
                  <a:gd name="T3" fmla="*/ 22 h 976"/>
                  <a:gd name="T4" fmla="*/ 600 w 764"/>
                  <a:gd name="T5" fmla="*/ 38 h 976"/>
                  <a:gd name="T6" fmla="*/ 632 w 764"/>
                  <a:gd name="T7" fmla="*/ 60 h 976"/>
                  <a:gd name="T8" fmla="*/ 658 w 764"/>
                  <a:gd name="T9" fmla="*/ 86 h 976"/>
                  <a:gd name="T10" fmla="*/ 684 w 764"/>
                  <a:gd name="T11" fmla="*/ 116 h 976"/>
                  <a:gd name="T12" fmla="*/ 724 w 764"/>
                  <a:gd name="T13" fmla="*/ 184 h 976"/>
                  <a:gd name="T14" fmla="*/ 740 w 764"/>
                  <a:gd name="T15" fmla="*/ 224 h 976"/>
                  <a:gd name="T16" fmla="*/ 760 w 764"/>
                  <a:gd name="T17" fmla="*/ 312 h 976"/>
                  <a:gd name="T18" fmla="*/ 764 w 764"/>
                  <a:gd name="T19" fmla="*/ 406 h 976"/>
                  <a:gd name="T20" fmla="*/ 762 w 764"/>
                  <a:gd name="T21" fmla="*/ 458 h 976"/>
                  <a:gd name="T22" fmla="*/ 742 w 764"/>
                  <a:gd name="T23" fmla="*/ 560 h 976"/>
                  <a:gd name="T24" fmla="*/ 726 w 764"/>
                  <a:gd name="T25" fmla="*/ 612 h 976"/>
                  <a:gd name="T26" fmla="*/ 682 w 764"/>
                  <a:gd name="T27" fmla="*/ 710 h 976"/>
                  <a:gd name="T28" fmla="*/ 626 w 764"/>
                  <a:gd name="T29" fmla="*/ 794 h 976"/>
                  <a:gd name="T30" fmla="*/ 594 w 764"/>
                  <a:gd name="T31" fmla="*/ 832 h 976"/>
                  <a:gd name="T32" fmla="*/ 526 w 764"/>
                  <a:gd name="T33" fmla="*/ 894 h 976"/>
                  <a:gd name="T34" fmla="*/ 490 w 764"/>
                  <a:gd name="T35" fmla="*/ 920 h 976"/>
                  <a:gd name="T36" fmla="*/ 416 w 764"/>
                  <a:gd name="T37" fmla="*/ 956 h 976"/>
                  <a:gd name="T38" fmla="*/ 340 w 764"/>
                  <a:gd name="T39" fmla="*/ 974 h 976"/>
                  <a:gd name="T40" fmla="*/ 320 w 764"/>
                  <a:gd name="T41" fmla="*/ 976 h 976"/>
                  <a:gd name="T42" fmla="*/ 284 w 764"/>
                  <a:gd name="T43" fmla="*/ 976 h 976"/>
                  <a:gd name="T44" fmla="*/ 246 w 764"/>
                  <a:gd name="T45" fmla="*/ 970 h 976"/>
                  <a:gd name="T46" fmla="*/ 210 w 764"/>
                  <a:gd name="T47" fmla="*/ 960 h 976"/>
                  <a:gd name="T48" fmla="*/ 194 w 764"/>
                  <a:gd name="T49" fmla="*/ 954 h 976"/>
                  <a:gd name="T50" fmla="*/ 160 w 764"/>
                  <a:gd name="T51" fmla="*/ 936 h 976"/>
                  <a:gd name="T52" fmla="*/ 130 w 764"/>
                  <a:gd name="T53" fmla="*/ 914 h 976"/>
                  <a:gd name="T54" fmla="*/ 80 w 764"/>
                  <a:gd name="T55" fmla="*/ 860 h 976"/>
                  <a:gd name="T56" fmla="*/ 60 w 764"/>
                  <a:gd name="T57" fmla="*/ 828 h 976"/>
                  <a:gd name="T58" fmla="*/ 26 w 764"/>
                  <a:gd name="T59" fmla="*/ 758 h 976"/>
                  <a:gd name="T60" fmla="*/ 16 w 764"/>
                  <a:gd name="T61" fmla="*/ 718 h 976"/>
                  <a:gd name="T62" fmla="*/ 2 w 764"/>
                  <a:gd name="T63" fmla="*/ 636 h 976"/>
                  <a:gd name="T64" fmla="*/ 0 w 764"/>
                  <a:gd name="T65" fmla="*/ 548 h 976"/>
                  <a:gd name="T66" fmla="*/ 4 w 764"/>
                  <a:gd name="T67" fmla="*/ 504 h 976"/>
                  <a:gd name="T68" fmla="*/ 24 w 764"/>
                  <a:gd name="T69" fmla="*/ 412 h 976"/>
                  <a:gd name="T70" fmla="*/ 40 w 764"/>
                  <a:gd name="T71" fmla="*/ 366 h 976"/>
                  <a:gd name="T72" fmla="*/ 78 w 764"/>
                  <a:gd name="T73" fmla="*/ 278 h 976"/>
                  <a:gd name="T74" fmla="*/ 126 w 764"/>
                  <a:gd name="T75" fmla="*/ 200 h 976"/>
                  <a:gd name="T76" fmla="*/ 154 w 764"/>
                  <a:gd name="T77" fmla="*/ 164 h 976"/>
                  <a:gd name="T78" fmla="*/ 214 w 764"/>
                  <a:gd name="T79" fmla="*/ 102 h 976"/>
                  <a:gd name="T80" fmla="*/ 246 w 764"/>
                  <a:gd name="T81" fmla="*/ 76 h 976"/>
                  <a:gd name="T82" fmla="*/ 314 w 764"/>
                  <a:gd name="T83" fmla="*/ 36 h 976"/>
                  <a:gd name="T84" fmla="*/ 386 w 764"/>
                  <a:gd name="T85" fmla="*/ 10 h 976"/>
                  <a:gd name="T86" fmla="*/ 422 w 764"/>
                  <a:gd name="T87" fmla="*/ 2 h 976"/>
                  <a:gd name="T88" fmla="*/ 478 w 764"/>
                  <a:gd name="T89" fmla="*/ 0 h 976"/>
                  <a:gd name="T90" fmla="*/ 514 w 764"/>
                  <a:gd name="T91" fmla="*/ 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4" h="976">
                    <a:moveTo>
                      <a:pt x="532" y="10"/>
                    </a:moveTo>
                    <a:lnTo>
                      <a:pt x="532" y="10"/>
                    </a:lnTo>
                    <a:lnTo>
                      <a:pt x="550" y="14"/>
                    </a:lnTo>
                    <a:lnTo>
                      <a:pt x="568" y="22"/>
                    </a:lnTo>
                    <a:lnTo>
                      <a:pt x="584" y="30"/>
                    </a:lnTo>
                    <a:lnTo>
                      <a:pt x="600" y="38"/>
                    </a:lnTo>
                    <a:lnTo>
                      <a:pt x="616" y="48"/>
                    </a:lnTo>
                    <a:lnTo>
                      <a:pt x="632" y="60"/>
                    </a:lnTo>
                    <a:lnTo>
                      <a:pt x="646" y="72"/>
                    </a:lnTo>
                    <a:lnTo>
                      <a:pt x="658" y="86"/>
                    </a:lnTo>
                    <a:lnTo>
                      <a:pt x="658" y="86"/>
                    </a:lnTo>
                    <a:lnTo>
                      <a:pt x="684" y="116"/>
                    </a:lnTo>
                    <a:lnTo>
                      <a:pt x="706" y="148"/>
                    </a:lnTo>
                    <a:lnTo>
                      <a:pt x="724" y="184"/>
                    </a:lnTo>
                    <a:lnTo>
                      <a:pt x="740" y="224"/>
                    </a:lnTo>
                    <a:lnTo>
                      <a:pt x="740" y="224"/>
                    </a:lnTo>
                    <a:lnTo>
                      <a:pt x="752" y="266"/>
                    </a:lnTo>
                    <a:lnTo>
                      <a:pt x="760" y="312"/>
                    </a:lnTo>
                    <a:lnTo>
                      <a:pt x="764" y="358"/>
                    </a:lnTo>
                    <a:lnTo>
                      <a:pt x="764" y="406"/>
                    </a:lnTo>
                    <a:lnTo>
                      <a:pt x="764" y="406"/>
                    </a:lnTo>
                    <a:lnTo>
                      <a:pt x="762" y="458"/>
                    </a:lnTo>
                    <a:lnTo>
                      <a:pt x="754" y="508"/>
                    </a:lnTo>
                    <a:lnTo>
                      <a:pt x="742" y="560"/>
                    </a:lnTo>
                    <a:lnTo>
                      <a:pt x="726" y="612"/>
                    </a:lnTo>
                    <a:lnTo>
                      <a:pt x="726" y="612"/>
                    </a:lnTo>
                    <a:lnTo>
                      <a:pt x="704" y="662"/>
                    </a:lnTo>
                    <a:lnTo>
                      <a:pt x="682" y="710"/>
                    </a:lnTo>
                    <a:lnTo>
                      <a:pt x="654" y="754"/>
                    </a:lnTo>
                    <a:lnTo>
                      <a:pt x="626" y="794"/>
                    </a:lnTo>
                    <a:lnTo>
                      <a:pt x="626" y="794"/>
                    </a:lnTo>
                    <a:lnTo>
                      <a:pt x="594" y="832"/>
                    </a:lnTo>
                    <a:lnTo>
                      <a:pt x="562" y="864"/>
                    </a:lnTo>
                    <a:lnTo>
                      <a:pt x="526" y="894"/>
                    </a:lnTo>
                    <a:lnTo>
                      <a:pt x="490" y="920"/>
                    </a:lnTo>
                    <a:lnTo>
                      <a:pt x="490" y="920"/>
                    </a:lnTo>
                    <a:lnTo>
                      <a:pt x="454" y="940"/>
                    </a:lnTo>
                    <a:lnTo>
                      <a:pt x="416" y="956"/>
                    </a:lnTo>
                    <a:lnTo>
                      <a:pt x="378" y="968"/>
                    </a:lnTo>
                    <a:lnTo>
                      <a:pt x="340" y="974"/>
                    </a:lnTo>
                    <a:lnTo>
                      <a:pt x="340" y="974"/>
                    </a:lnTo>
                    <a:lnTo>
                      <a:pt x="320" y="976"/>
                    </a:lnTo>
                    <a:lnTo>
                      <a:pt x="302" y="976"/>
                    </a:lnTo>
                    <a:lnTo>
                      <a:pt x="284" y="976"/>
                    </a:lnTo>
                    <a:lnTo>
                      <a:pt x="264" y="974"/>
                    </a:lnTo>
                    <a:lnTo>
                      <a:pt x="246" y="970"/>
                    </a:lnTo>
                    <a:lnTo>
                      <a:pt x="228" y="966"/>
                    </a:lnTo>
                    <a:lnTo>
                      <a:pt x="210" y="960"/>
                    </a:lnTo>
                    <a:lnTo>
                      <a:pt x="194" y="954"/>
                    </a:lnTo>
                    <a:lnTo>
                      <a:pt x="194" y="954"/>
                    </a:lnTo>
                    <a:lnTo>
                      <a:pt x="176" y="946"/>
                    </a:lnTo>
                    <a:lnTo>
                      <a:pt x="160" y="936"/>
                    </a:lnTo>
                    <a:lnTo>
                      <a:pt x="146" y="926"/>
                    </a:lnTo>
                    <a:lnTo>
                      <a:pt x="130" y="914"/>
                    </a:lnTo>
                    <a:lnTo>
                      <a:pt x="104" y="888"/>
                    </a:lnTo>
                    <a:lnTo>
                      <a:pt x="80" y="860"/>
                    </a:lnTo>
                    <a:lnTo>
                      <a:pt x="80" y="860"/>
                    </a:lnTo>
                    <a:lnTo>
                      <a:pt x="60" y="828"/>
                    </a:lnTo>
                    <a:lnTo>
                      <a:pt x="42" y="794"/>
                    </a:lnTo>
                    <a:lnTo>
                      <a:pt x="26" y="758"/>
                    </a:lnTo>
                    <a:lnTo>
                      <a:pt x="16" y="718"/>
                    </a:lnTo>
                    <a:lnTo>
                      <a:pt x="16" y="718"/>
                    </a:lnTo>
                    <a:lnTo>
                      <a:pt x="6" y="678"/>
                    </a:lnTo>
                    <a:lnTo>
                      <a:pt x="2" y="636"/>
                    </a:lnTo>
                    <a:lnTo>
                      <a:pt x="0" y="594"/>
                    </a:lnTo>
                    <a:lnTo>
                      <a:pt x="0" y="548"/>
                    </a:lnTo>
                    <a:lnTo>
                      <a:pt x="0" y="548"/>
                    </a:lnTo>
                    <a:lnTo>
                      <a:pt x="4" y="504"/>
                    </a:lnTo>
                    <a:lnTo>
                      <a:pt x="12" y="458"/>
                    </a:lnTo>
                    <a:lnTo>
                      <a:pt x="24" y="412"/>
                    </a:lnTo>
                    <a:lnTo>
                      <a:pt x="40" y="366"/>
                    </a:lnTo>
                    <a:lnTo>
                      <a:pt x="40" y="366"/>
                    </a:lnTo>
                    <a:lnTo>
                      <a:pt x="56" y="320"/>
                    </a:lnTo>
                    <a:lnTo>
                      <a:pt x="78" y="278"/>
                    </a:lnTo>
                    <a:lnTo>
                      <a:pt x="100" y="236"/>
                    </a:lnTo>
                    <a:lnTo>
                      <a:pt x="126" y="200"/>
                    </a:lnTo>
                    <a:lnTo>
                      <a:pt x="126" y="200"/>
                    </a:lnTo>
                    <a:lnTo>
                      <a:pt x="154" y="164"/>
                    </a:lnTo>
                    <a:lnTo>
                      <a:pt x="182" y="132"/>
                    </a:lnTo>
                    <a:lnTo>
                      <a:pt x="214" y="102"/>
                    </a:lnTo>
                    <a:lnTo>
                      <a:pt x="246" y="76"/>
                    </a:lnTo>
                    <a:lnTo>
                      <a:pt x="246" y="76"/>
                    </a:lnTo>
                    <a:lnTo>
                      <a:pt x="280" y="54"/>
                    </a:lnTo>
                    <a:lnTo>
                      <a:pt x="314" y="36"/>
                    </a:lnTo>
                    <a:lnTo>
                      <a:pt x="350" y="20"/>
                    </a:lnTo>
                    <a:lnTo>
                      <a:pt x="386" y="10"/>
                    </a:lnTo>
                    <a:lnTo>
                      <a:pt x="386" y="10"/>
                    </a:lnTo>
                    <a:lnTo>
                      <a:pt x="422" y="2"/>
                    </a:lnTo>
                    <a:lnTo>
                      <a:pt x="460" y="0"/>
                    </a:lnTo>
                    <a:lnTo>
                      <a:pt x="478" y="0"/>
                    </a:lnTo>
                    <a:lnTo>
                      <a:pt x="496" y="2"/>
                    </a:lnTo>
                    <a:lnTo>
                      <a:pt x="514" y="6"/>
                    </a:lnTo>
                    <a:lnTo>
                      <a:pt x="532" y="10"/>
                    </a:lnTo>
                    <a:close/>
                  </a:path>
                </a:pathLst>
              </a:custGeom>
              <a:solidFill>
                <a:srgbClr val="FFC000"/>
              </a:solidFill>
              <a:ln>
                <a:noFill/>
              </a:ln>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9" name="Freeform 204"/>
              <p:cNvSpPr/>
              <p:nvPr>
                <p:custDataLst>
                  <p:tags r:id="rId84"/>
                </p:custDataLst>
              </p:nvPr>
            </p:nvSpPr>
            <p:spPr bwMode="auto">
              <a:xfrm>
                <a:off x="3381828" y="3151471"/>
                <a:ext cx="811393" cy="1036545"/>
              </a:xfrm>
              <a:custGeom>
                <a:avLst/>
                <a:gdLst>
                  <a:gd name="T0" fmla="*/ 532 w 764"/>
                  <a:gd name="T1" fmla="*/ 10 h 976"/>
                  <a:gd name="T2" fmla="*/ 568 w 764"/>
                  <a:gd name="T3" fmla="*/ 22 h 976"/>
                  <a:gd name="T4" fmla="*/ 600 w 764"/>
                  <a:gd name="T5" fmla="*/ 38 h 976"/>
                  <a:gd name="T6" fmla="*/ 632 w 764"/>
                  <a:gd name="T7" fmla="*/ 60 h 976"/>
                  <a:gd name="T8" fmla="*/ 658 w 764"/>
                  <a:gd name="T9" fmla="*/ 86 h 976"/>
                  <a:gd name="T10" fmla="*/ 684 w 764"/>
                  <a:gd name="T11" fmla="*/ 116 h 976"/>
                  <a:gd name="T12" fmla="*/ 724 w 764"/>
                  <a:gd name="T13" fmla="*/ 184 h 976"/>
                  <a:gd name="T14" fmla="*/ 740 w 764"/>
                  <a:gd name="T15" fmla="*/ 224 h 976"/>
                  <a:gd name="T16" fmla="*/ 760 w 764"/>
                  <a:gd name="T17" fmla="*/ 312 h 976"/>
                  <a:gd name="T18" fmla="*/ 764 w 764"/>
                  <a:gd name="T19" fmla="*/ 406 h 976"/>
                  <a:gd name="T20" fmla="*/ 762 w 764"/>
                  <a:gd name="T21" fmla="*/ 458 h 976"/>
                  <a:gd name="T22" fmla="*/ 742 w 764"/>
                  <a:gd name="T23" fmla="*/ 560 h 976"/>
                  <a:gd name="T24" fmla="*/ 726 w 764"/>
                  <a:gd name="T25" fmla="*/ 612 h 976"/>
                  <a:gd name="T26" fmla="*/ 682 w 764"/>
                  <a:gd name="T27" fmla="*/ 710 h 976"/>
                  <a:gd name="T28" fmla="*/ 626 w 764"/>
                  <a:gd name="T29" fmla="*/ 794 h 976"/>
                  <a:gd name="T30" fmla="*/ 594 w 764"/>
                  <a:gd name="T31" fmla="*/ 832 h 976"/>
                  <a:gd name="T32" fmla="*/ 526 w 764"/>
                  <a:gd name="T33" fmla="*/ 894 h 976"/>
                  <a:gd name="T34" fmla="*/ 490 w 764"/>
                  <a:gd name="T35" fmla="*/ 920 h 976"/>
                  <a:gd name="T36" fmla="*/ 416 w 764"/>
                  <a:gd name="T37" fmla="*/ 956 h 976"/>
                  <a:gd name="T38" fmla="*/ 340 w 764"/>
                  <a:gd name="T39" fmla="*/ 974 h 976"/>
                  <a:gd name="T40" fmla="*/ 320 w 764"/>
                  <a:gd name="T41" fmla="*/ 976 h 976"/>
                  <a:gd name="T42" fmla="*/ 284 w 764"/>
                  <a:gd name="T43" fmla="*/ 976 h 976"/>
                  <a:gd name="T44" fmla="*/ 246 w 764"/>
                  <a:gd name="T45" fmla="*/ 970 h 976"/>
                  <a:gd name="T46" fmla="*/ 210 w 764"/>
                  <a:gd name="T47" fmla="*/ 960 h 976"/>
                  <a:gd name="T48" fmla="*/ 194 w 764"/>
                  <a:gd name="T49" fmla="*/ 954 h 976"/>
                  <a:gd name="T50" fmla="*/ 160 w 764"/>
                  <a:gd name="T51" fmla="*/ 936 h 976"/>
                  <a:gd name="T52" fmla="*/ 130 w 764"/>
                  <a:gd name="T53" fmla="*/ 914 h 976"/>
                  <a:gd name="T54" fmla="*/ 80 w 764"/>
                  <a:gd name="T55" fmla="*/ 860 h 976"/>
                  <a:gd name="T56" fmla="*/ 60 w 764"/>
                  <a:gd name="T57" fmla="*/ 828 h 976"/>
                  <a:gd name="T58" fmla="*/ 26 w 764"/>
                  <a:gd name="T59" fmla="*/ 758 h 976"/>
                  <a:gd name="T60" fmla="*/ 16 w 764"/>
                  <a:gd name="T61" fmla="*/ 718 h 976"/>
                  <a:gd name="T62" fmla="*/ 2 w 764"/>
                  <a:gd name="T63" fmla="*/ 636 h 976"/>
                  <a:gd name="T64" fmla="*/ 0 w 764"/>
                  <a:gd name="T65" fmla="*/ 548 h 976"/>
                  <a:gd name="T66" fmla="*/ 4 w 764"/>
                  <a:gd name="T67" fmla="*/ 504 h 976"/>
                  <a:gd name="T68" fmla="*/ 24 w 764"/>
                  <a:gd name="T69" fmla="*/ 412 h 976"/>
                  <a:gd name="T70" fmla="*/ 40 w 764"/>
                  <a:gd name="T71" fmla="*/ 366 h 976"/>
                  <a:gd name="T72" fmla="*/ 78 w 764"/>
                  <a:gd name="T73" fmla="*/ 278 h 976"/>
                  <a:gd name="T74" fmla="*/ 126 w 764"/>
                  <a:gd name="T75" fmla="*/ 200 h 976"/>
                  <a:gd name="T76" fmla="*/ 154 w 764"/>
                  <a:gd name="T77" fmla="*/ 164 h 976"/>
                  <a:gd name="T78" fmla="*/ 214 w 764"/>
                  <a:gd name="T79" fmla="*/ 102 h 976"/>
                  <a:gd name="T80" fmla="*/ 246 w 764"/>
                  <a:gd name="T81" fmla="*/ 76 h 976"/>
                  <a:gd name="T82" fmla="*/ 314 w 764"/>
                  <a:gd name="T83" fmla="*/ 36 h 976"/>
                  <a:gd name="T84" fmla="*/ 386 w 764"/>
                  <a:gd name="T85" fmla="*/ 10 h 976"/>
                  <a:gd name="T86" fmla="*/ 422 w 764"/>
                  <a:gd name="T87" fmla="*/ 2 h 976"/>
                  <a:gd name="T88" fmla="*/ 478 w 764"/>
                  <a:gd name="T89" fmla="*/ 0 h 976"/>
                  <a:gd name="T90" fmla="*/ 514 w 764"/>
                  <a:gd name="T91" fmla="*/ 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4" h="976">
                    <a:moveTo>
                      <a:pt x="532" y="10"/>
                    </a:moveTo>
                    <a:lnTo>
                      <a:pt x="532" y="10"/>
                    </a:lnTo>
                    <a:lnTo>
                      <a:pt x="550" y="14"/>
                    </a:lnTo>
                    <a:lnTo>
                      <a:pt x="568" y="22"/>
                    </a:lnTo>
                    <a:lnTo>
                      <a:pt x="584" y="30"/>
                    </a:lnTo>
                    <a:lnTo>
                      <a:pt x="600" y="38"/>
                    </a:lnTo>
                    <a:lnTo>
                      <a:pt x="616" y="48"/>
                    </a:lnTo>
                    <a:lnTo>
                      <a:pt x="632" y="60"/>
                    </a:lnTo>
                    <a:lnTo>
                      <a:pt x="646" y="72"/>
                    </a:lnTo>
                    <a:lnTo>
                      <a:pt x="658" y="86"/>
                    </a:lnTo>
                    <a:lnTo>
                      <a:pt x="658" y="86"/>
                    </a:lnTo>
                    <a:lnTo>
                      <a:pt x="684" y="116"/>
                    </a:lnTo>
                    <a:lnTo>
                      <a:pt x="706" y="148"/>
                    </a:lnTo>
                    <a:lnTo>
                      <a:pt x="724" y="184"/>
                    </a:lnTo>
                    <a:lnTo>
                      <a:pt x="740" y="224"/>
                    </a:lnTo>
                    <a:lnTo>
                      <a:pt x="740" y="224"/>
                    </a:lnTo>
                    <a:lnTo>
                      <a:pt x="752" y="266"/>
                    </a:lnTo>
                    <a:lnTo>
                      <a:pt x="760" y="312"/>
                    </a:lnTo>
                    <a:lnTo>
                      <a:pt x="764" y="358"/>
                    </a:lnTo>
                    <a:lnTo>
                      <a:pt x="764" y="406"/>
                    </a:lnTo>
                    <a:lnTo>
                      <a:pt x="764" y="406"/>
                    </a:lnTo>
                    <a:lnTo>
                      <a:pt x="762" y="458"/>
                    </a:lnTo>
                    <a:lnTo>
                      <a:pt x="754" y="508"/>
                    </a:lnTo>
                    <a:lnTo>
                      <a:pt x="742" y="560"/>
                    </a:lnTo>
                    <a:lnTo>
                      <a:pt x="726" y="612"/>
                    </a:lnTo>
                    <a:lnTo>
                      <a:pt x="726" y="612"/>
                    </a:lnTo>
                    <a:lnTo>
                      <a:pt x="704" y="662"/>
                    </a:lnTo>
                    <a:lnTo>
                      <a:pt x="682" y="710"/>
                    </a:lnTo>
                    <a:lnTo>
                      <a:pt x="654" y="754"/>
                    </a:lnTo>
                    <a:lnTo>
                      <a:pt x="626" y="794"/>
                    </a:lnTo>
                    <a:lnTo>
                      <a:pt x="626" y="794"/>
                    </a:lnTo>
                    <a:lnTo>
                      <a:pt x="594" y="832"/>
                    </a:lnTo>
                    <a:lnTo>
                      <a:pt x="562" y="864"/>
                    </a:lnTo>
                    <a:lnTo>
                      <a:pt x="526" y="894"/>
                    </a:lnTo>
                    <a:lnTo>
                      <a:pt x="490" y="920"/>
                    </a:lnTo>
                    <a:lnTo>
                      <a:pt x="490" y="920"/>
                    </a:lnTo>
                    <a:lnTo>
                      <a:pt x="454" y="940"/>
                    </a:lnTo>
                    <a:lnTo>
                      <a:pt x="416" y="956"/>
                    </a:lnTo>
                    <a:lnTo>
                      <a:pt x="378" y="968"/>
                    </a:lnTo>
                    <a:lnTo>
                      <a:pt x="340" y="974"/>
                    </a:lnTo>
                    <a:lnTo>
                      <a:pt x="340" y="974"/>
                    </a:lnTo>
                    <a:lnTo>
                      <a:pt x="320" y="976"/>
                    </a:lnTo>
                    <a:lnTo>
                      <a:pt x="302" y="976"/>
                    </a:lnTo>
                    <a:lnTo>
                      <a:pt x="284" y="976"/>
                    </a:lnTo>
                    <a:lnTo>
                      <a:pt x="264" y="974"/>
                    </a:lnTo>
                    <a:lnTo>
                      <a:pt x="246" y="970"/>
                    </a:lnTo>
                    <a:lnTo>
                      <a:pt x="228" y="966"/>
                    </a:lnTo>
                    <a:lnTo>
                      <a:pt x="210" y="960"/>
                    </a:lnTo>
                    <a:lnTo>
                      <a:pt x="194" y="954"/>
                    </a:lnTo>
                    <a:lnTo>
                      <a:pt x="194" y="954"/>
                    </a:lnTo>
                    <a:lnTo>
                      <a:pt x="176" y="946"/>
                    </a:lnTo>
                    <a:lnTo>
                      <a:pt x="160" y="936"/>
                    </a:lnTo>
                    <a:lnTo>
                      <a:pt x="146" y="926"/>
                    </a:lnTo>
                    <a:lnTo>
                      <a:pt x="130" y="914"/>
                    </a:lnTo>
                    <a:lnTo>
                      <a:pt x="104" y="888"/>
                    </a:lnTo>
                    <a:lnTo>
                      <a:pt x="80" y="860"/>
                    </a:lnTo>
                    <a:lnTo>
                      <a:pt x="80" y="860"/>
                    </a:lnTo>
                    <a:lnTo>
                      <a:pt x="60" y="828"/>
                    </a:lnTo>
                    <a:lnTo>
                      <a:pt x="42" y="794"/>
                    </a:lnTo>
                    <a:lnTo>
                      <a:pt x="26" y="758"/>
                    </a:lnTo>
                    <a:lnTo>
                      <a:pt x="16" y="718"/>
                    </a:lnTo>
                    <a:lnTo>
                      <a:pt x="16" y="718"/>
                    </a:lnTo>
                    <a:lnTo>
                      <a:pt x="6" y="678"/>
                    </a:lnTo>
                    <a:lnTo>
                      <a:pt x="2" y="636"/>
                    </a:lnTo>
                    <a:lnTo>
                      <a:pt x="0" y="594"/>
                    </a:lnTo>
                    <a:lnTo>
                      <a:pt x="0" y="548"/>
                    </a:lnTo>
                    <a:lnTo>
                      <a:pt x="0" y="548"/>
                    </a:lnTo>
                    <a:lnTo>
                      <a:pt x="4" y="504"/>
                    </a:lnTo>
                    <a:lnTo>
                      <a:pt x="12" y="458"/>
                    </a:lnTo>
                    <a:lnTo>
                      <a:pt x="24" y="412"/>
                    </a:lnTo>
                    <a:lnTo>
                      <a:pt x="40" y="366"/>
                    </a:lnTo>
                    <a:lnTo>
                      <a:pt x="40" y="366"/>
                    </a:lnTo>
                    <a:lnTo>
                      <a:pt x="56" y="320"/>
                    </a:lnTo>
                    <a:lnTo>
                      <a:pt x="78" y="278"/>
                    </a:lnTo>
                    <a:lnTo>
                      <a:pt x="100" y="236"/>
                    </a:lnTo>
                    <a:lnTo>
                      <a:pt x="126" y="200"/>
                    </a:lnTo>
                    <a:lnTo>
                      <a:pt x="126" y="200"/>
                    </a:lnTo>
                    <a:lnTo>
                      <a:pt x="154" y="164"/>
                    </a:lnTo>
                    <a:lnTo>
                      <a:pt x="182" y="132"/>
                    </a:lnTo>
                    <a:lnTo>
                      <a:pt x="214" y="102"/>
                    </a:lnTo>
                    <a:lnTo>
                      <a:pt x="246" y="76"/>
                    </a:lnTo>
                    <a:lnTo>
                      <a:pt x="246" y="76"/>
                    </a:lnTo>
                    <a:lnTo>
                      <a:pt x="280" y="54"/>
                    </a:lnTo>
                    <a:lnTo>
                      <a:pt x="314" y="36"/>
                    </a:lnTo>
                    <a:lnTo>
                      <a:pt x="350" y="20"/>
                    </a:lnTo>
                    <a:lnTo>
                      <a:pt x="386" y="10"/>
                    </a:lnTo>
                    <a:lnTo>
                      <a:pt x="386" y="10"/>
                    </a:lnTo>
                    <a:lnTo>
                      <a:pt x="422" y="2"/>
                    </a:lnTo>
                    <a:lnTo>
                      <a:pt x="460" y="0"/>
                    </a:lnTo>
                    <a:lnTo>
                      <a:pt x="478" y="0"/>
                    </a:lnTo>
                    <a:lnTo>
                      <a:pt x="496" y="2"/>
                    </a:lnTo>
                    <a:lnTo>
                      <a:pt x="514" y="6"/>
                    </a:lnTo>
                    <a:lnTo>
                      <a:pt x="53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0" name="Freeform 206"/>
              <p:cNvSpPr/>
              <p:nvPr>
                <p:custDataLst>
                  <p:tags r:id="rId85"/>
                </p:custDataLst>
              </p:nvPr>
            </p:nvSpPr>
            <p:spPr bwMode="auto">
              <a:xfrm>
                <a:off x="3734424" y="3151471"/>
                <a:ext cx="463046" cy="1036545"/>
              </a:xfrm>
              <a:custGeom>
                <a:avLst/>
                <a:gdLst>
                  <a:gd name="T0" fmla="*/ 436 w 436"/>
                  <a:gd name="T1" fmla="*/ 408 h 976"/>
                  <a:gd name="T2" fmla="*/ 430 w 436"/>
                  <a:gd name="T3" fmla="*/ 312 h 976"/>
                  <a:gd name="T4" fmla="*/ 410 w 436"/>
                  <a:gd name="T5" fmla="*/ 224 h 976"/>
                  <a:gd name="T6" fmla="*/ 394 w 436"/>
                  <a:gd name="T7" fmla="*/ 184 h 976"/>
                  <a:gd name="T8" fmla="*/ 354 w 436"/>
                  <a:gd name="T9" fmla="*/ 116 h 976"/>
                  <a:gd name="T10" fmla="*/ 328 w 436"/>
                  <a:gd name="T11" fmla="*/ 86 h 976"/>
                  <a:gd name="T12" fmla="*/ 300 w 436"/>
                  <a:gd name="T13" fmla="*/ 60 h 976"/>
                  <a:gd name="T14" fmla="*/ 270 w 436"/>
                  <a:gd name="T15" fmla="*/ 38 h 976"/>
                  <a:gd name="T16" fmla="*/ 238 w 436"/>
                  <a:gd name="T17" fmla="*/ 22 h 976"/>
                  <a:gd name="T18" fmla="*/ 202 w 436"/>
                  <a:gd name="T19" fmla="*/ 10 h 976"/>
                  <a:gd name="T20" fmla="*/ 170 w 436"/>
                  <a:gd name="T21" fmla="*/ 2 h 976"/>
                  <a:gd name="T22" fmla="*/ 106 w 436"/>
                  <a:gd name="T23" fmla="*/ 0 h 976"/>
                  <a:gd name="T24" fmla="*/ 74 w 436"/>
                  <a:gd name="T25" fmla="*/ 4 h 976"/>
                  <a:gd name="T26" fmla="*/ 124 w 436"/>
                  <a:gd name="T27" fmla="*/ 4 h 976"/>
                  <a:gd name="T28" fmla="*/ 174 w 436"/>
                  <a:gd name="T29" fmla="*/ 14 h 976"/>
                  <a:gd name="T30" fmla="*/ 192 w 436"/>
                  <a:gd name="T31" fmla="*/ 18 h 976"/>
                  <a:gd name="T32" fmla="*/ 226 w 436"/>
                  <a:gd name="T33" fmla="*/ 34 h 976"/>
                  <a:gd name="T34" fmla="*/ 258 w 436"/>
                  <a:gd name="T35" fmla="*/ 52 h 976"/>
                  <a:gd name="T36" fmla="*/ 288 w 436"/>
                  <a:gd name="T37" fmla="*/ 76 h 976"/>
                  <a:gd name="T38" fmla="*/ 302 w 436"/>
                  <a:gd name="T39" fmla="*/ 90 h 976"/>
                  <a:gd name="T40" fmla="*/ 348 w 436"/>
                  <a:gd name="T41" fmla="*/ 152 h 976"/>
                  <a:gd name="T42" fmla="*/ 382 w 436"/>
                  <a:gd name="T43" fmla="*/ 228 h 976"/>
                  <a:gd name="T44" fmla="*/ 394 w 436"/>
                  <a:gd name="T45" fmla="*/ 270 h 976"/>
                  <a:gd name="T46" fmla="*/ 408 w 436"/>
                  <a:gd name="T47" fmla="*/ 362 h 976"/>
                  <a:gd name="T48" fmla="*/ 408 w 436"/>
                  <a:gd name="T49" fmla="*/ 410 h 976"/>
                  <a:gd name="T50" fmla="*/ 396 w 436"/>
                  <a:gd name="T51" fmla="*/ 512 h 976"/>
                  <a:gd name="T52" fmla="*/ 368 w 436"/>
                  <a:gd name="T53" fmla="*/ 616 h 976"/>
                  <a:gd name="T54" fmla="*/ 348 w 436"/>
                  <a:gd name="T55" fmla="*/ 666 h 976"/>
                  <a:gd name="T56" fmla="*/ 298 w 436"/>
                  <a:gd name="T57" fmla="*/ 758 h 976"/>
                  <a:gd name="T58" fmla="*/ 268 w 436"/>
                  <a:gd name="T59" fmla="*/ 798 h 976"/>
                  <a:gd name="T60" fmla="*/ 204 w 436"/>
                  <a:gd name="T61" fmla="*/ 868 h 976"/>
                  <a:gd name="T62" fmla="*/ 132 w 436"/>
                  <a:gd name="T63" fmla="*/ 924 h 976"/>
                  <a:gd name="T64" fmla="*/ 100 w 436"/>
                  <a:gd name="T65" fmla="*/ 942 h 976"/>
                  <a:gd name="T66" fmla="*/ 34 w 436"/>
                  <a:gd name="T67" fmla="*/ 968 h 976"/>
                  <a:gd name="T68" fmla="*/ 0 w 436"/>
                  <a:gd name="T69" fmla="*/ 976 h 976"/>
                  <a:gd name="T70" fmla="*/ 8 w 436"/>
                  <a:gd name="T71" fmla="*/ 974 h 976"/>
                  <a:gd name="T72" fmla="*/ 84 w 436"/>
                  <a:gd name="T73" fmla="*/ 956 h 976"/>
                  <a:gd name="T74" fmla="*/ 160 w 436"/>
                  <a:gd name="T75" fmla="*/ 920 h 976"/>
                  <a:gd name="T76" fmla="*/ 196 w 436"/>
                  <a:gd name="T77" fmla="*/ 894 h 976"/>
                  <a:gd name="T78" fmla="*/ 264 w 436"/>
                  <a:gd name="T79" fmla="*/ 832 h 976"/>
                  <a:gd name="T80" fmla="*/ 296 w 436"/>
                  <a:gd name="T81" fmla="*/ 794 h 976"/>
                  <a:gd name="T82" fmla="*/ 352 w 436"/>
                  <a:gd name="T83" fmla="*/ 710 h 976"/>
                  <a:gd name="T84" fmla="*/ 396 w 436"/>
                  <a:gd name="T85" fmla="*/ 612 h 976"/>
                  <a:gd name="T86" fmla="*/ 412 w 436"/>
                  <a:gd name="T87" fmla="*/ 560 h 976"/>
                  <a:gd name="T88" fmla="*/ 432 w 436"/>
                  <a:gd name="T89" fmla="*/ 458 h 976"/>
                  <a:gd name="T90" fmla="*/ 436 w 436"/>
                  <a:gd name="T91" fmla="*/ 408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6" h="976">
                    <a:moveTo>
                      <a:pt x="436" y="408"/>
                    </a:moveTo>
                    <a:lnTo>
                      <a:pt x="436" y="408"/>
                    </a:lnTo>
                    <a:lnTo>
                      <a:pt x="436" y="358"/>
                    </a:lnTo>
                    <a:lnTo>
                      <a:pt x="430" y="312"/>
                    </a:lnTo>
                    <a:lnTo>
                      <a:pt x="422" y="266"/>
                    </a:lnTo>
                    <a:lnTo>
                      <a:pt x="410" y="224"/>
                    </a:lnTo>
                    <a:lnTo>
                      <a:pt x="410" y="224"/>
                    </a:lnTo>
                    <a:lnTo>
                      <a:pt x="394" y="184"/>
                    </a:lnTo>
                    <a:lnTo>
                      <a:pt x="376" y="148"/>
                    </a:lnTo>
                    <a:lnTo>
                      <a:pt x="354" y="116"/>
                    </a:lnTo>
                    <a:lnTo>
                      <a:pt x="328" y="86"/>
                    </a:lnTo>
                    <a:lnTo>
                      <a:pt x="328" y="86"/>
                    </a:lnTo>
                    <a:lnTo>
                      <a:pt x="316" y="72"/>
                    </a:lnTo>
                    <a:lnTo>
                      <a:pt x="300" y="60"/>
                    </a:lnTo>
                    <a:lnTo>
                      <a:pt x="286" y="50"/>
                    </a:lnTo>
                    <a:lnTo>
                      <a:pt x="270" y="38"/>
                    </a:lnTo>
                    <a:lnTo>
                      <a:pt x="254" y="30"/>
                    </a:lnTo>
                    <a:lnTo>
                      <a:pt x="238" y="22"/>
                    </a:lnTo>
                    <a:lnTo>
                      <a:pt x="220" y="16"/>
                    </a:lnTo>
                    <a:lnTo>
                      <a:pt x="202" y="10"/>
                    </a:lnTo>
                    <a:lnTo>
                      <a:pt x="202" y="10"/>
                    </a:lnTo>
                    <a:lnTo>
                      <a:pt x="170" y="2"/>
                    </a:lnTo>
                    <a:lnTo>
                      <a:pt x="138" y="0"/>
                    </a:lnTo>
                    <a:lnTo>
                      <a:pt x="106" y="0"/>
                    </a:lnTo>
                    <a:lnTo>
                      <a:pt x="74" y="4"/>
                    </a:lnTo>
                    <a:lnTo>
                      <a:pt x="74" y="4"/>
                    </a:lnTo>
                    <a:lnTo>
                      <a:pt x="98" y="4"/>
                    </a:lnTo>
                    <a:lnTo>
                      <a:pt x="124" y="4"/>
                    </a:lnTo>
                    <a:lnTo>
                      <a:pt x="148" y="8"/>
                    </a:lnTo>
                    <a:lnTo>
                      <a:pt x="174" y="14"/>
                    </a:lnTo>
                    <a:lnTo>
                      <a:pt x="174" y="14"/>
                    </a:lnTo>
                    <a:lnTo>
                      <a:pt x="192" y="18"/>
                    </a:lnTo>
                    <a:lnTo>
                      <a:pt x="210" y="26"/>
                    </a:lnTo>
                    <a:lnTo>
                      <a:pt x="226" y="34"/>
                    </a:lnTo>
                    <a:lnTo>
                      <a:pt x="242" y="42"/>
                    </a:lnTo>
                    <a:lnTo>
                      <a:pt x="258" y="52"/>
                    </a:lnTo>
                    <a:lnTo>
                      <a:pt x="274" y="64"/>
                    </a:lnTo>
                    <a:lnTo>
                      <a:pt x="288" y="76"/>
                    </a:lnTo>
                    <a:lnTo>
                      <a:pt x="302" y="90"/>
                    </a:lnTo>
                    <a:lnTo>
                      <a:pt x="302" y="90"/>
                    </a:lnTo>
                    <a:lnTo>
                      <a:pt x="326" y="118"/>
                    </a:lnTo>
                    <a:lnTo>
                      <a:pt x="348" y="152"/>
                    </a:lnTo>
                    <a:lnTo>
                      <a:pt x="368" y="188"/>
                    </a:lnTo>
                    <a:lnTo>
                      <a:pt x="382" y="228"/>
                    </a:lnTo>
                    <a:lnTo>
                      <a:pt x="382" y="228"/>
                    </a:lnTo>
                    <a:lnTo>
                      <a:pt x="394" y="270"/>
                    </a:lnTo>
                    <a:lnTo>
                      <a:pt x="402" y="316"/>
                    </a:lnTo>
                    <a:lnTo>
                      <a:pt x="408" y="362"/>
                    </a:lnTo>
                    <a:lnTo>
                      <a:pt x="408" y="410"/>
                    </a:lnTo>
                    <a:lnTo>
                      <a:pt x="408" y="410"/>
                    </a:lnTo>
                    <a:lnTo>
                      <a:pt x="404" y="460"/>
                    </a:lnTo>
                    <a:lnTo>
                      <a:pt x="396" y="512"/>
                    </a:lnTo>
                    <a:lnTo>
                      <a:pt x="384" y="564"/>
                    </a:lnTo>
                    <a:lnTo>
                      <a:pt x="368" y="616"/>
                    </a:lnTo>
                    <a:lnTo>
                      <a:pt x="368" y="616"/>
                    </a:lnTo>
                    <a:lnTo>
                      <a:pt x="348" y="666"/>
                    </a:lnTo>
                    <a:lnTo>
                      <a:pt x="324" y="714"/>
                    </a:lnTo>
                    <a:lnTo>
                      <a:pt x="298" y="758"/>
                    </a:lnTo>
                    <a:lnTo>
                      <a:pt x="268" y="798"/>
                    </a:lnTo>
                    <a:lnTo>
                      <a:pt x="268" y="798"/>
                    </a:lnTo>
                    <a:lnTo>
                      <a:pt x="236" y="836"/>
                    </a:lnTo>
                    <a:lnTo>
                      <a:pt x="204" y="868"/>
                    </a:lnTo>
                    <a:lnTo>
                      <a:pt x="168" y="898"/>
                    </a:lnTo>
                    <a:lnTo>
                      <a:pt x="132" y="924"/>
                    </a:lnTo>
                    <a:lnTo>
                      <a:pt x="132" y="924"/>
                    </a:lnTo>
                    <a:lnTo>
                      <a:pt x="100" y="942"/>
                    </a:lnTo>
                    <a:lnTo>
                      <a:pt x="66" y="956"/>
                    </a:lnTo>
                    <a:lnTo>
                      <a:pt x="34" y="968"/>
                    </a:lnTo>
                    <a:lnTo>
                      <a:pt x="0" y="976"/>
                    </a:lnTo>
                    <a:lnTo>
                      <a:pt x="0" y="976"/>
                    </a:lnTo>
                    <a:lnTo>
                      <a:pt x="8" y="974"/>
                    </a:lnTo>
                    <a:lnTo>
                      <a:pt x="8" y="974"/>
                    </a:lnTo>
                    <a:lnTo>
                      <a:pt x="46" y="968"/>
                    </a:lnTo>
                    <a:lnTo>
                      <a:pt x="84" y="956"/>
                    </a:lnTo>
                    <a:lnTo>
                      <a:pt x="122" y="940"/>
                    </a:lnTo>
                    <a:lnTo>
                      <a:pt x="160" y="920"/>
                    </a:lnTo>
                    <a:lnTo>
                      <a:pt x="160" y="920"/>
                    </a:lnTo>
                    <a:lnTo>
                      <a:pt x="196" y="894"/>
                    </a:lnTo>
                    <a:lnTo>
                      <a:pt x="230" y="864"/>
                    </a:lnTo>
                    <a:lnTo>
                      <a:pt x="264" y="832"/>
                    </a:lnTo>
                    <a:lnTo>
                      <a:pt x="296" y="794"/>
                    </a:lnTo>
                    <a:lnTo>
                      <a:pt x="296" y="794"/>
                    </a:lnTo>
                    <a:lnTo>
                      <a:pt x="326" y="754"/>
                    </a:lnTo>
                    <a:lnTo>
                      <a:pt x="352" y="710"/>
                    </a:lnTo>
                    <a:lnTo>
                      <a:pt x="376" y="662"/>
                    </a:lnTo>
                    <a:lnTo>
                      <a:pt x="396" y="612"/>
                    </a:lnTo>
                    <a:lnTo>
                      <a:pt x="396" y="612"/>
                    </a:lnTo>
                    <a:lnTo>
                      <a:pt x="412" y="560"/>
                    </a:lnTo>
                    <a:lnTo>
                      <a:pt x="424" y="508"/>
                    </a:lnTo>
                    <a:lnTo>
                      <a:pt x="432" y="458"/>
                    </a:lnTo>
                    <a:lnTo>
                      <a:pt x="436" y="408"/>
                    </a:lnTo>
                    <a:lnTo>
                      <a:pt x="436" y="408"/>
                    </a:lnTo>
                    <a:close/>
                  </a:path>
                </a:pathLst>
              </a:custGeom>
              <a:solidFill>
                <a:srgbClr val="FFF685"/>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1" name="Freeform 207"/>
              <p:cNvSpPr/>
              <p:nvPr>
                <p:custDataLst>
                  <p:tags r:id="rId86"/>
                </p:custDataLst>
              </p:nvPr>
            </p:nvSpPr>
            <p:spPr bwMode="auto">
              <a:xfrm>
                <a:off x="3381828" y="3151471"/>
                <a:ext cx="802896" cy="1036545"/>
              </a:xfrm>
              <a:custGeom>
                <a:avLst/>
                <a:gdLst>
                  <a:gd name="T0" fmla="*/ 710 w 756"/>
                  <a:gd name="T1" fmla="*/ 640 h 976"/>
                  <a:gd name="T2" fmla="*/ 632 w 756"/>
                  <a:gd name="T3" fmla="*/ 768 h 976"/>
                  <a:gd name="T4" fmla="*/ 568 w 756"/>
                  <a:gd name="T5" fmla="*/ 836 h 976"/>
                  <a:gd name="T6" fmla="*/ 498 w 756"/>
                  <a:gd name="T7" fmla="*/ 888 h 976"/>
                  <a:gd name="T8" fmla="*/ 388 w 756"/>
                  <a:gd name="T9" fmla="*/ 936 h 976"/>
                  <a:gd name="T10" fmla="*/ 312 w 756"/>
                  <a:gd name="T11" fmla="*/ 944 h 976"/>
                  <a:gd name="T12" fmla="*/ 258 w 756"/>
                  <a:gd name="T13" fmla="*/ 938 h 976"/>
                  <a:gd name="T14" fmla="*/ 206 w 756"/>
                  <a:gd name="T15" fmla="*/ 920 h 976"/>
                  <a:gd name="T16" fmla="*/ 172 w 756"/>
                  <a:gd name="T17" fmla="*/ 904 h 976"/>
                  <a:gd name="T18" fmla="*/ 92 w 756"/>
                  <a:gd name="T19" fmla="*/ 830 h 976"/>
                  <a:gd name="T20" fmla="*/ 54 w 756"/>
                  <a:gd name="T21" fmla="*/ 766 h 976"/>
                  <a:gd name="T22" fmla="*/ 28 w 756"/>
                  <a:gd name="T23" fmla="*/ 694 h 976"/>
                  <a:gd name="T24" fmla="*/ 12 w 756"/>
                  <a:gd name="T25" fmla="*/ 572 h 976"/>
                  <a:gd name="T26" fmla="*/ 18 w 756"/>
                  <a:gd name="T27" fmla="*/ 484 h 976"/>
                  <a:gd name="T28" fmla="*/ 50 w 756"/>
                  <a:gd name="T29" fmla="*/ 352 h 976"/>
                  <a:gd name="T30" fmla="*/ 88 w 756"/>
                  <a:gd name="T31" fmla="*/ 266 h 976"/>
                  <a:gd name="T32" fmla="*/ 136 w 756"/>
                  <a:gd name="T33" fmla="*/ 192 h 976"/>
                  <a:gd name="T34" fmla="*/ 222 w 756"/>
                  <a:gd name="T35" fmla="*/ 98 h 976"/>
                  <a:gd name="T36" fmla="*/ 286 w 756"/>
                  <a:gd name="T37" fmla="*/ 52 h 976"/>
                  <a:gd name="T38" fmla="*/ 390 w 756"/>
                  <a:gd name="T39" fmla="*/ 10 h 976"/>
                  <a:gd name="T40" fmla="*/ 454 w 756"/>
                  <a:gd name="T41" fmla="*/ 0 h 976"/>
                  <a:gd name="T42" fmla="*/ 516 w 756"/>
                  <a:gd name="T43" fmla="*/ 6 h 976"/>
                  <a:gd name="T44" fmla="*/ 418 w 756"/>
                  <a:gd name="T45" fmla="*/ 2 h 976"/>
                  <a:gd name="T46" fmla="*/ 350 w 756"/>
                  <a:gd name="T47" fmla="*/ 20 h 976"/>
                  <a:gd name="T48" fmla="*/ 246 w 756"/>
                  <a:gd name="T49" fmla="*/ 76 h 976"/>
                  <a:gd name="T50" fmla="*/ 182 w 756"/>
                  <a:gd name="T51" fmla="*/ 132 h 976"/>
                  <a:gd name="T52" fmla="*/ 126 w 756"/>
                  <a:gd name="T53" fmla="*/ 200 h 976"/>
                  <a:gd name="T54" fmla="*/ 56 w 756"/>
                  <a:gd name="T55" fmla="*/ 320 h 976"/>
                  <a:gd name="T56" fmla="*/ 24 w 756"/>
                  <a:gd name="T57" fmla="*/ 412 h 976"/>
                  <a:gd name="T58" fmla="*/ 0 w 756"/>
                  <a:gd name="T59" fmla="*/ 548 h 976"/>
                  <a:gd name="T60" fmla="*/ 2 w 756"/>
                  <a:gd name="T61" fmla="*/ 636 h 976"/>
                  <a:gd name="T62" fmla="*/ 16 w 756"/>
                  <a:gd name="T63" fmla="*/ 718 h 976"/>
                  <a:gd name="T64" fmla="*/ 60 w 756"/>
                  <a:gd name="T65" fmla="*/ 828 h 976"/>
                  <a:gd name="T66" fmla="*/ 104 w 756"/>
                  <a:gd name="T67" fmla="*/ 888 h 976"/>
                  <a:gd name="T68" fmla="*/ 160 w 756"/>
                  <a:gd name="T69" fmla="*/ 936 h 976"/>
                  <a:gd name="T70" fmla="*/ 194 w 756"/>
                  <a:gd name="T71" fmla="*/ 954 h 976"/>
                  <a:gd name="T72" fmla="*/ 246 w 756"/>
                  <a:gd name="T73" fmla="*/ 970 h 976"/>
                  <a:gd name="T74" fmla="*/ 302 w 756"/>
                  <a:gd name="T75" fmla="*/ 976 h 976"/>
                  <a:gd name="T76" fmla="*/ 340 w 756"/>
                  <a:gd name="T77" fmla="*/ 974 h 976"/>
                  <a:gd name="T78" fmla="*/ 454 w 756"/>
                  <a:gd name="T79" fmla="*/ 940 h 976"/>
                  <a:gd name="T80" fmla="*/ 526 w 756"/>
                  <a:gd name="T81" fmla="*/ 894 h 976"/>
                  <a:gd name="T82" fmla="*/ 626 w 756"/>
                  <a:gd name="T83" fmla="*/ 794 h 976"/>
                  <a:gd name="T84" fmla="*/ 682 w 756"/>
                  <a:gd name="T85" fmla="*/ 710 h 976"/>
                  <a:gd name="T86" fmla="*/ 726 w 756"/>
                  <a:gd name="T87" fmla="*/ 612 h 976"/>
                  <a:gd name="T88" fmla="*/ 750 w 756"/>
                  <a:gd name="T89" fmla="*/ 528 h 976"/>
                  <a:gd name="T90" fmla="*/ 744 w 756"/>
                  <a:gd name="T91" fmla="*/ 54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6" h="976">
                    <a:moveTo>
                      <a:pt x="730" y="592"/>
                    </a:moveTo>
                    <a:lnTo>
                      <a:pt x="730" y="592"/>
                    </a:lnTo>
                    <a:lnTo>
                      <a:pt x="710" y="640"/>
                    </a:lnTo>
                    <a:lnTo>
                      <a:pt x="686" y="686"/>
                    </a:lnTo>
                    <a:lnTo>
                      <a:pt x="660" y="730"/>
                    </a:lnTo>
                    <a:lnTo>
                      <a:pt x="632" y="768"/>
                    </a:lnTo>
                    <a:lnTo>
                      <a:pt x="632" y="768"/>
                    </a:lnTo>
                    <a:lnTo>
                      <a:pt x="600" y="804"/>
                    </a:lnTo>
                    <a:lnTo>
                      <a:pt x="568" y="836"/>
                    </a:lnTo>
                    <a:lnTo>
                      <a:pt x="534" y="864"/>
                    </a:lnTo>
                    <a:lnTo>
                      <a:pt x="498" y="888"/>
                    </a:lnTo>
                    <a:lnTo>
                      <a:pt x="498" y="888"/>
                    </a:lnTo>
                    <a:lnTo>
                      <a:pt x="462" y="908"/>
                    </a:lnTo>
                    <a:lnTo>
                      <a:pt x="424" y="924"/>
                    </a:lnTo>
                    <a:lnTo>
                      <a:pt x="388" y="936"/>
                    </a:lnTo>
                    <a:lnTo>
                      <a:pt x="350" y="942"/>
                    </a:lnTo>
                    <a:lnTo>
                      <a:pt x="350" y="942"/>
                    </a:lnTo>
                    <a:lnTo>
                      <a:pt x="312" y="944"/>
                    </a:lnTo>
                    <a:lnTo>
                      <a:pt x="294" y="942"/>
                    </a:lnTo>
                    <a:lnTo>
                      <a:pt x="276" y="940"/>
                    </a:lnTo>
                    <a:lnTo>
                      <a:pt x="258" y="938"/>
                    </a:lnTo>
                    <a:lnTo>
                      <a:pt x="240" y="932"/>
                    </a:lnTo>
                    <a:lnTo>
                      <a:pt x="222" y="928"/>
                    </a:lnTo>
                    <a:lnTo>
                      <a:pt x="206" y="920"/>
                    </a:lnTo>
                    <a:lnTo>
                      <a:pt x="206" y="920"/>
                    </a:lnTo>
                    <a:lnTo>
                      <a:pt x="188" y="912"/>
                    </a:lnTo>
                    <a:lnTo>
                      <a:pt x="172" y="904"/>
                    </a:lnTo>
                    <a:lnTo>
                      <a:pt x="144" y="882"/>
                    </a:lnTo>
                    <a:lnTo>
                      <a:pt x="116" y="858"/>
                    </a:lnTo>
                    <a:lnTo>
                      <a:pt x="92" y="830"/>
                    </a:lnTo>
                    <a:lnTo>
                      <a:pt x="92" y="830"/>
                    </a:lnTo>
                    <a:lnTo>
                      <a:pt x="72" y="800"/>
                    </a:lnTo>
                    <a:lnTo>
                      <a:pt x="54" y="766"/>
                    </a:lnTo>
                    <a:lnTo>
                      <a:pt x="40" y="730"/>
                    </a:lnTo>
                    <a:lnTo>
                      <a:pt x="28" y="694"/>
                    </a:lnTo>
                    <a:lnTo>
                      <a:pt x="28" y="694"/>
                    </a:lnTo>
                    <a:lnTo>
                      <a:pt x="20" y="654"/>
                    </a:lnTo>
                    <a:lnTo>
                      <a:pt x="14" y="614"/>
                    </a:lnTo>
                    <a:lnTo>
                      <a:pt x="12" y="572"/>
                    </a:lnTo>
                    <a:lnTo>
                      <a:pt x="14" y="528"/>
                    </a:lnTo>
                    <a:lnTo>
                      <a:pt x="14" y="528"/>
                    </a:lnTo>
                    <a:lnTo>
                      <a:pt x="18" y="484"/>
                    </a:lnTo>
                    <a:lnTo>
                      <a:pt x="24" y="440"/>
                    </a:lnTo>
                    <a:lnTo>
                      <a:pt x="36" y="396"/>
                    </a:lnTo>
                    <a:lnTo>
                      <a:pt x="50" y="352"/>
                    </a:lnTo>
                    <a:lnTo>
                      <a:pt x="50" y="352"/>
                    </a:lnTo>
                    <a:lnTo>
                      <a:pt x="68" y="308"/>
                    </a:lnTo>
                    <a:lnTo>
                      <a:pt x="88" y="266"/>
                    </a:lnTo>
                    <a:lnTo>
                      <a:pt x="110" y="228"/>
                    </a:lnTo>
                    <a:lnTo>
                      <a:pt x="136" y="192"/>
                    </a:lnTo>
                    <a:lnTo>
                      <a:pt x="136" y="192"/>
                    </a:lnTo>
                    <a:lnTo>
                      <a:pt x="162" y="158"/>
                    </a:lnTo>
                    <a:lnTo>
                      <a:pt x="192" y="126"/>
                    </a:lnTo>
                    <a:lnTo>
                      <a:pt x="222" y="98"/>
                    </a:lnTo>
                    <a:lnTo>
                      <a:pt x="254" y="74"/>
                    </a:lnTo>
                    <a:lnTo>
                      <a:pt x="254" y="74"/>
                    </a:lnTo>
                    <a:lnTo>
                      <a:pt x="286" y="52"/>
                    </a:lnTo>
                    <a:lnTo>
                      <a:pt x="320" y="34"/>
                    </a:lnTo>
                    <a:lnTo>
                      <a:pt x="356" y="20"/>
                    </a:lnTo>
                    <a:lnTo>
                      <a:pt x="390" y="10"/>
                    </a:lnTo>
                    <a:lnTo>
                      <a:pt x="390" y="10"/>
                    </a:lnTo>
                    <a:lnTo>
                      <a:pt x="422" y="4"/>
                    </a:lnTo>
                    <a:lnTo>
                      <a:pt x="454" y="0"/>
                    </a:lnTo>
                    <a:lnTo>
                      <a:pt x="484" y="2"/>
                    </a:lnTo>
                    <a:lnTo>
                      <a:pt x="516" y="6"/>
                    </a:lnTo>
                    <a:lnTo>
                      <a:pt x="516" y="6"/>
                    </a:lnTo>
                    <a:lnTo>
                      <a:pt x="484" y="0"/>
                    </a:lnTo>
                    <a:lnTo>
                      <a:pt x="450" y="0"/>
                    </a:lnTo>
                    <a:lnTo>
                      <a:pt x="418" y="2"/>
                    </a:lnTo>
                    <a:lnTo>
                      <a:pt x="386" y="10"/>
                    </a:lnTo>
                    <a:lnTo>
                      <a:pt x="386" y="10"/>
                    </a:lnTo>
                    <a:lnTo>
                      <a:pt x="350" y="20"/>
                    </a:lnTo>
                    <a:lnTo>
                      <a:pt x="314" y="36"/>
                    </a:lnTo>
                    <a:lnTo>
                      <a:pt x="280" y="54"/>
                    </a:lnTo>
                    <a:lnTo>
                      <a:pt x="246" y="76"/>
                    </a:lnTo>
                    <a:lnTo>
                      <a:pt x="246" y="76"/>
                    </a:lnTo>
                    <a:lnTo>
                      <a:pt x="214" y="102"/>
                    </a:lnTo>
                    <a:lnTo>
                      <a:pt x="182" y="132"/>
                    </a:lnTo>
                    <a:lnTo>
                      <a:pt x="154" y="164"/>
                    </a:lnTo>
                    <a:lnTo>
                      <a:pt x="126" y="200"/>
                    </a:lnTo>
                    <a:lnTo>
                      <a:pt x="126" y="200"/>
                    </a:lnTo>
                    <a:lnTo>
                      <a:pt x="100" y="236"/>
                    </a:lnTo>
                    <a:lnTo>
                      <a:pt x="78" y="278"/>
                    </a:lnTo>
                    <a:lnTo>
                      <a:pt x="56" y="320"/>
                    </a:lnTo>
                    <a:lnTo>
                      <a:pt x="40" y="366"/>
                    </a:lnTo>
                    <a:lnTo>
                      <a:pt x="40" y="366"/>
                    </a:lnTo>
                    <a:lnTo>
                      <a:pt x="24" y="412"/>
                    </a:lnTo>
                    <a:lnTo>
                      <a:pt x="12" y="458"/>
                    </a:lnTo>
                    <a:lnTo>
                      <a:pt x="4" y="504"/>
                    </a:lnTo>
                    <a:lnTo>
                      <a:pt x="0" y="548"/>
                    </a:lnTo>
                    <a:lnTo>
                      <a:pt x="0" y="548"/>
                    </a:lnTo>
                    <a:lnTo>
                      <a:pt x="0" y="594"/>
                    </a:lnTo>
                    <a:lnTo>
                      <a:pt x="2" y="636"/>
                    </a:lnTo>
                    <a:lnTo>
                      <a:pt x="6" y="678"/>
                    </a:lnTo>
                    <a:lnTo>
                      <a:pt x="16" y="718"/>
                    </a:lnTo>
                    <a:lnTo>
                      <a:pt x="16" y="718"/>
                    </a:lnTo>
                    <a:lnTo>
                      <a:pt x="26" y="758"/>
                    </a:lnTo>
                    <a:lnTo>
                      <a:pt x="42" y="794"/>
                    </a:lnTo>
                    <a:lnTo>
                      <a:pt x="60" y="828"/>
                    </a:lnTo>
                    <a:lnTo>
                      <a:pt x="80" y="860"/>
                    </a:lnTo>
                    <a:lnTo>
                      <a:pt x="80" y="860"/>
                    </a:lnTo>
                    <a:lnTo>
                      <a:pt x="104" y="888"/>
                    </a:lnTo>
                    <a:lnTo>
                      <a:pt x="130" y="914"/>
                    </a:lnTo>
                    <a:lnTo>
                      <a:pt x="146" y="926"/>
                    </a:lnTo>
                    <a:lnTo>
                      <a:pt x="160" y="936"/>
                    </a:lnTo>
                    <a:lnTo>
                      <a:pt x="176" y="946"/>
                    </a:lnTo>
                    <a:lnTo>
                      <a:pt x="194" y="954"/>
                    </a:lnTo>
                    <a:lnTo>
                      <a:pt x="194" y="954"/>
                    </a:lnTo>
                    <a:lnTo>
                      <a:pt x="210" y="960"/>
                    </a:lnTo>
                    <a:lnTo>
                      <a:pt x="228" y="966"/>
                    </a:lnTo>
                    <a:lnTo>
                      <a:pt x="246" y="970"/>
                    </a:lnTo>
                    <a:lnTo>
                      <a:pt x="264" y="974"/>
                    </a:lnTo>
                    <a:lnTo>
                      <a:pt x="284" y="976"/>
                    </a:lnTo>
                    <a:lnTo>
                      <a:pt x="302" y="976"/>
                    </a:lnTo>
                    <a:lnTo>
                      <a:pt x="320" y="976"/>
                    </a:lnTo>
                    <a:lnTo>
                      <a:pt x="340" y="974"/>
                    </a:lnTo>
                    <a:lnTo>
                      <a:pt x="340" y="974"/>
                    </a:lnTo>
                    <a:lnTo>
                      <a:pt x="378" y="968"/>
                    </a:lnTo>
                    <a:lnTo>
                      <a:pt x="416" y="956"/>
                    </a:lnTo>
                    <a:lnTo>
                      <a:pt x="454" y="940"/>
                    </a:lnTo>
                    <a:lnTo>
                      <a:pt x="490" y="920"/>
                    </a:lnTo>
                    <a:lnTo>
                      <a:pt x="490" y="920"/>
                    </a:lnTo>
                    <a:lnTo>
                      <a:pt x="526" y="894"/>
                    </a:lnTo>
                    <a:lnTo>
                      <a:pt x="562" y="864"/>
                    </a:lnTo>
                    <a:lnTo>
                      <a:pt x="594" y="832"/>
                    </a:lnTo>
                    <a:lnTo>
                      <a:pt x="626" y="794"/>
                    </a:lnTo>
                    <a:lnTo>
                      <a:pt x="626" y="794"/>
                    </a:lnTo>
                    <a:lnTo>
                      <a:pt x="654" y="754"/>
                    </a:lnTo>
                    <a:lnTo>
                      <a:pt x="682" y="710"/>
                    </a:lnTo>
                    <a:lnTo>
                      <a:pt x="704" y="662"/>
                    </a:lnTo>
                    <a:lnTo>
                      <a:pt x="726" y="612"/>
                    </a:lnTo>
                    <a:lnTo>
                      <a:pt x="726" y="612"/>
                    </a:lnTo>
                    <a:lnTo>
                      <a:pt x="734" y="584"/>
                    </a:lnTo>
                    <a:lnTo>
                      <a:pt x="742" y="556"/>
                    </a:lnTo>
                    <a:lnTo>
                      <a:pt x="750" y="528"/>
                    </a:lnTo>
                    <a:lnTo>
                      <a:pt x="756" y="500"/>
                    </a:lnTo>
                    <a:lnTo>
                      <a:pt x="756" y="500"/>
                    </a:lnTo>
                    <a:lnTo>
                      <a:pt x="744" y="546"/>
                    </a:lnTo>
                    <a:lnTo>
                      <a:pt x="730" y="592"/>
                    </a:lnTo>
                    <a:close/>
                  </a:path>
                </a:pathLst>
              </a:custGeom>
              <a:solidFill>
                <a:srgbClr val="FFF9AE"/>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2" name="Freeform 208"/>
              <p:cNvSpPr/>
              <p:nvPr>
                <p:custDataLst>
                  <p:tags r:id="rId87"/>
                </p:custDataLst>
              </p:nvPr>
            </p:nvSpPr>
            <p:spPr bwMode="auto">
              <a:xfrm>
                <a:off x="3381828" y="3151471"/>
                <a:ext cx="802896" cy="1036545"/>
              </a:xfrm>
              <a:custGeom>
                <a:avLst/>
                <a:gdLst>
                  <a:gd name="T0" fmla="*/ 710 w 756"/>
                  <a:gd name="T1" fmla="*/ 640 h 976"/>
                  <a:gd name="T2" fmla="*/ 632 w 756"/>
                  <a:gd name="T3" fmla="*/ 768 h 976"/>
                  <a:gd name="T4" fmla="*/ 568 w 756"/>
                  <a:gd name="T5" fmla="*/ 836 h 976"/>
                  <a:gd name="T6" fmla="*/ 498 w 756"/>
                  <a:gd name="T7" fmla="*/ 888 h 976"/>
                  <a:gd name="T8" fmla="*/ 388 w 756"/>
                  <a:gd name="T9" fmla="*/ 936 h 976"/>
                  <a:gd name="T10" fmla="*/ 312 w 756"/>
                  <a:gd name="T11" fmla="*/ 944 h 976"/>
                  <a:gd name="T12" fmla="*/ 258 w 756"/>
                  <a:gd name="T13" fmla="*/ 938 h 976"/>
                  <a:gd name="T14" fmla="*/ 206 w 756"/>
                  <a:gd name="T15" fmla="*/ 920 h 976"/>
                  <a:gd name="T16" fmla="*/ 172 w 756"/>
                  <a:gd name="T17" fmla="*/ 904 h 976"/>
                  <a:gd name="T18" fmla="*/ 92 w 756"/>
                  <a:gd name="T19" fmla="*/ 830 h 976"/>
                  <a:gd name="T20" fmla="*/ 54 w 756"/>
                  <a:gd name="T21" fmla="*/ 766 h 976"/>
                  <a:gd name="T22" fmla="*/ 28 w 756"/>
                  <a:gd name="T23" fmla="*/ 694 h 976"/>
                  <a:gd name="T24" fmla="*/ 12 w 756"/>
                  <a:gd name="T25" fmla="*/ 572 h 976"/>
                  <a:gd name="T26" fmla="*/ 18 w 756"/>
                  <a:gd name="T27" fmla="*/ 484 h 976"/>
                  <a:gd name="T28" fmla="*/ 50 w 756"/>
                  <a:gd name="T29" fmla="*/ 352 h 976"/>
                  <a:gd name="T30" fmla="*/ 88 w 756"/>
                  <a:gd name="T31" fmla="*/ 266 h 976"/>
                  <a:gd name="T32" fmla="*/ 136 w 756"/>
                  <a:gd name="T33" fmla="*/ 192 h 976"/>
                  <a:gd name="T34" fmla="*/ 222 w 756"/>
                  <a:gd name="T35" fmla="*/ 98 h 976"/>
                  <a:gd name="T36" fmla="*/ 286 w 756"/>
                  <a:gd name="T37" fmla="*/ 52 h 976"/>
                  <a:gd name="T38" fmla="*/ 390 w 756"/>
                  <a:gd name="T39" fmla="*/ 10 h 976"/>
                  <a:gd name="T40" fmla="*/ 454 w 756"/>
                  <a:gd name="T41" fmla="*/ 0 h 976"/>
                  <a:gd name="T42" fmla="*/ 516 w 756"/>
                  <a:gd name="T43" fmla="*/ 6 h 976"/>
                  <a:gd name="T44" fmla="*/ 418 w 756"/>
                  <a:gd name="T45" fmla="*/ 2 h 976"/>
                  <a:gd name="T46" fmla="*/ 350 w 756"/>
                  <a:gd name="T47" fmla="*/ 20 h 976"/>
                  <a:gd name="T48" fmla="*/ 246 w 756"/>
                  <a:gd name="T49" fmla="*/ 76 h 976"/>
                  <a:gd name="T50" fmla="*/ 182 w 756"/>
                  <a:gd name="T51" fmla="*/ 132 h 976"/>
                  <a:gd name="T52" fmla="*/ 126 w 756"/>
                  <a:gd name="T53" fmla="*/ 200 h 976"/>
                  <a:gd name="T54" fmla="*/ 56 w 756"/>
                  <a:gd name="T55" fmla="*/ 320 h 976"/>
                  <a:gd name="T56" fmla="*/ 24 w 756"/>
                  <a:gd name="T57" fmla="*/ 412 h 976"/>
                  <a:gd name="T58" fmla="*/ 0 w 756"/>
                  <a:gd name="T59" fmla="*/ 548 h 976"/>
                  <a:gd name="T60" fmla="*/ 2 w 756"/>
                  <a:gd name="T61" fmla="*/ 636 h 976"/>
                  <a:gd name="T62" fmla="*/ 16 w 756"/>
                  <a:gd name="T63" fmla="*/ 718 h 976"/>
                  <a:gd name="T64" fmla="*/ 60 w 756"/>
                  <a:gd name="T65" fmla="*/ 828 h 976"/>
                  <a:gd name="T66" fmla="*/ 104 w 756"/>
                  <a:gd name="T67" fmla="*/ 888 h 976"/>
                  <a:gd name="T68" fmla="*/ 160 w 756"/>
                  <a:gd name="T69" fmla="*/ 936 h 976"/>
                  <a:gd name="T70" fmla="*/ 194 w 756"/>
                  <a:gd name="T71" fmla="*/ 954 h 976"/>
                  <a:gd name="T72" fmla="*/ 246 w 756"/>
                  <a:gd name="T73" fmla="*/ 970 h 976"/>
                  <a:gd name="T74" fmla="*/ 302 w 756"/>
                  <a:gd name="T75" fmla="*/ 976 h 976"/>
                  <a:gd name="T76" fmla="*/ 340 w 756"/>
                  <a:gd name="T77" fmla="*/ 974 h 976"/>
                  <a:gd name="T78" fmla="*/ 454 w 756"/>
                  <a:gd name="T79" fmla="*/ 940 h 976"/>
                  <a:gd name="T80" fmla="*/ 526 w 756"/>
                  <a:gd name="T81" fmla="*/ 894 h 976"/>
                  <a:gd name="T82" fmla="*/ 626 w 756"/>
                  <a:gd name="T83" fmla="*/ 794 h 976"/>
                  <a:gd name="T84" fmla="*/ 682 w 756"/>
                  <a:gd name="T85" fmla="*/ 710 h 976"/>
                  <a:gd name="T86" fmla="*/ 726 w 756"/>
                  <a:gd name="T87" fmla="*/ 612 h 976"/>
                  <a:gd name="T88" fmla="*/ 750 w 756"/>
                  <a:gd name="T89" fmla="*/ 528 h 976"/>
                  <a:gd name="T90" fmla="*/ 744 w 756"/>
                  <a:gd name="T91" fmla="*/ 54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6" h="976">
                    <a:moveTo>
                      <a:pt x="730" y="592"/>
                    </a:moveTo>
                    <a:lnTo>
                      <a:pt x="730" y="592"/>
                    </a:lnTo>
                    <a:lnTo>
                      <a:pt x="710" y="640"/>
                    </a:lnTo>
                    <a:lnTo>
                      <a:pt x="686" y="686"/>
                    </a:lnTo>
                    <a:lnTo>
                      <a:pt x="660" y="730"/>
                    </a:lnTo>
                    <a:lnTo>
                      <a:pt x="632" y="768"/>
                    </a:lnTo>
                    <a:lnTo>
                      <a:pt x="632" y="768"/>
                    </a:lnTo>
                    <a:lnTo>
                      <a:pt x="600" y="804"/>
                    </a:lnTo>
                    <a:lnTo>
                      <a:pt x="568" y="836"/>
                    </a:lnTo>
                    <a:lnTo>
                      <a:pt x="534" y="864"/>
                    </a:lnTo>
                    <a:lnTo>
                      <a:pt x="498" y="888"/>
                    </a:lnTo>
                    <a:lnTo>
                      <a:pt x="498" y="888"/>
                    </a:lnTo>
                    <a:lnTo>
                      <a:pt x="462" y="908"/>
                    </a:lnTo>
                    <a:lnTo>
                      <a:pt x="424" y="924"/>
                    </a:lnTo>
                    <a:lnTo>
                      <a:pt x="388" y="936"/>
                    </a:lnTo>
                    <a:lnTo>
                      <a:pt x="350" y="942"/>
                    </a:lnTo>
                    <a:lnTo>
                      <a:pt x="350" y="942"/>
                    </a:lnTo>
                    <a:lnTo>
                      <a:pt x="312" y="944"/>
                    </a:lnTo>
                    <a:lnTo>
                      <a:pt x="294" y="942"/>
                    </a:lnTo>
                    <a:lnTo>
                      <a:pt x="276" y="940"/>
                    </a:lnTo>
                    <a:lnTo>
                      <a:pt x="258" y="938"/>
                    </a:lnTo>
                    <a:lnTo>
                      <a:pt x="240" y="932"/>
                    </a:lnTo>
                    <a:lnTo>
                      <a:pt x="222" y="928"/>
                    </a:lnTo>
                    <a:lnTo>
                      <a:pt x="206" y="920"/>
                    </a:lnTo>
                    <a:lnTo>
                      <a:pt x="206" y="920"/>
                    </a:lnTo>
                    <a:lnTo>
                      <a:pt x="188" y="912"/>
                    </a:lnTo>
                    <a:lnTo>
                      <a:pt x="172" y="904"/>
                    </a:lnTo>
                    <a:lnTo>
                      <a:pt x="144" y="882"/>
                    </a:lnTo>
                    <a:lnTo>
                      <a:pt x="116" y="858"/>
                    </a:lnTo>
                    <a:lnTo>
                      <a:pt x="92" y="830"/>
                    </a:lnTo>
                    <a:lnTo>
                      <a:pt x="92" y="830"/>
                    </a:lnTo>
                    <a:lnTo>
                      <a:pt x="72" y="800"/>
                    </a:lnTo>
                    <a:lnTo>
                      <a:pt x="54" y="766"/>
                    </a:lnTo>
                    <a:lnTo>
                      <a:pt x="40" y="730"/>
                    </a:lnTo>
                    <a:lnTo>
                      <a:pt x="28" y="694"/>
                    </a:lnTo>
                    <a:lnTo>
                      <a:pt x="28" y="694"/>
                    </a:lnTo>
                    <a:lnTo>
                      <a:pt x="20" y="654"/>
                    </a:lnTo>
                    <a:lnTo>
                      <a:pt x="14" y="614"/>
                    </a:lnTo>
                    <a:lnTo>
                      <a:pt x="12" y="572"/>
                    </a:lnTo>
                    <a:lnTo>
                      <a:pt x="14" y="528"/>
                    </a:lnTo>
                    <a:lnTo>
                      <a:pt x="14" y="528"/>
                    </a:lnTo>
                    <a:lnTo>
                      <a:pt x="18" y="484"/>
                    </a:lnTo>
                    <a:lnTo>
                      <a:pt x="24" y="440"/>
                    </a:lnTo>
                    <a:lnTo>
                      <a:pt x="36" y="396"/>
                    </a:lnTo>
                    <a:lnTo>
                      <a:pt x="50" y="352"/>
                    </a:lnTo>
                    <a:lnTo>
                      <a:pt x="50" y="352"/>
                    </a:lnTo>
                    <a:lnTo>
                      <a:pt x="68" y="308"/>
                    </a:lnTo>
                    <a:lnTo>
                      <a:pt x="88" y="266"/>
                    </a:lnTo>
                    <a:lnTo>
                      <a:pt x="110" y="228"/>
                    </a:lnTo>
                    <a:lnTo>
                      <a:pt x="136" y="192"/>
                    </a:lnTo>
                    <a:lnTo>
                      <a:pt x="136" y="192"/>
                    </a:lnTo>
                    <a:lnTo>
                      <a:pt x="162" y="158"/>
                    </a:lnTo>
                    <a:lnTo>
                      <a:pt x="192" y="126"/>
                    </a:lnTo>
                    <a:lnTo>
                      <a:pt x="222" y="98"/>
                    </a:lnTo>
                    <a:lnTo>
                      <a:pt x="254" y="74"/>
                    </a:lnTo>
                    <a:lnTo>
                      <a:pt x="254" y="74"/>
                    </a:lnTo>
                    <a:lnTo>
                      <a:pt x="286" y="52"/>
                    </a:lnTo>
                    <a:lnTo>
                      <a:pt x="320" y="34"/>
                    </a:lnTo>
                    <a:lnTo>
                      <a:pt x="356" y="20"/>
                    </a:lnTo>
                    <a:lnTo>
                      <a:pt x="390" y="10"/>
                    </a:lnTo>
                    <a:lnTo>
                      <a:pt x="390" y="10"/>
                    </a:lnTo>
                    <a:lnTo>
                      <a:pt x="422" y="4"/>
                    </a:lnTo>
                    <a:lnTo>
                      <a:pt x="454" y="0"/>
                    </a:lnTo>
                    <a:lnTo>
                      <a:pt x="484" y="2"/>
                    </a:lnTo>
                    <a:lnTo>
                      <a:pt x="516" y="6"/>
                    </a:lnTo>
                    <a:lnTo>
                      <a:pt x="516" y="6"/>
                    </a:lnTo>
                    <a:lnTo>
                      <a:pt x="484" y="0"/>
                    </a:lnTo>
                    <a:lnTo>
                      <a:pt x="450" y="0"/>
                    </a:lnTo>
                    <a:lnTo>
                      <a:pt x="418" y="2"/>
                    </a:lnTo>
                    <a:lnTo>
                      <a:pt x="386" y="10"/>
                    </a:lnTo>
                    <a:lnTo>
                      <a:pt x="386" y="10"/>
                    </a:lnTo>
                    <a:lnTo>
                      <a:pt x="350" y="20"/>
                    </a:lnTo>
                    <a:lnTo>
                      <a:pt x="314" y="36"/>
                    </a:lnTo>
                    <a:lnTo>
                      <a:pt x="280" y="54"/>
                    </a:lnTo>
                    <a:lnTo>
                      <a:pt x="246" y="76"/>
                    </a:lnTo>
                    <a:lnTo>
                      <a:pt x="246" y="76"/>
                    </a:lnTo>
                    <a:lnTo>
                      <a:pt x="214" y="102"/>
                    </a:lnTo>
                    <a:lnTo>
                      <a:pt x="182" y="132"/>
                    </a:lnTo>
                    <a:lnTo>
                      <a:pt x="154" y="164"/>
                    </a:lnTo>
                    <a:lnTo>
                      <a:pt x="126" y="200"/>
                    </a:lnTo>
                    <a:lnTo>
                      <a:pt x="126" y="200"/>
                    </a:lnTo>
                    <a:lnTo>
                      <a:pt x="100" y="236"/>
                    </a:lnTo>
                    <a:lnTo>
                      <a:pt x="78" y="278"/>
                    </a:lnTo>
                    <a:lnTo>
                      <a:pt x="56" y="320"/>
                    </a:lnTo>
                    <a:lnTo>
                      <a:pt x="40" y="366"/>
                    </a:lnTo>
                    <a:lnTo>
                      <a:pt x="40" y="366"/>
                    </a:lnTo>
                    <a:lnTo>
                      <a:pt x="24" y="412"/>
                    </a:lnTo>
                    <a:lnTo>
                      <a:pt x="12" y="458"/>
                    </a:lnTo>
                    <a:lnTo>
                      <a:pt x="4" y="504"/>
                    </a:lnTo>
                    <a:lnTo>
                      <a:pt x="0" y="548"/>
                    </a:lnTo>
                    <a:lnTo>
                      <a:pt x="0" y="548"/>
                    </a:lnTo>
                    <a:lnTo>
                      <a:pt x="0" y="594"/>
                    </a:lnTo>
                    <a:lnTo>
                      <a:pt x="2" y="636"/>
                    </a:lnTo>
                    <a:lnTo>
                      <a:pt x="6" y="678"/>
                    </a:lnTo>
                    <a:lnTo>
                      <a:pt x="16" y="718"/>
                    </a:lnTo>
                    <a:lnTo>
                      <a:pt x="16" y="718"/>
                    </a:lnTo>
                    <a:lnTo>
                      <a:pt x="26" y="758"/>
                    </a:lnTo>
                    <a:lnTo>
                      <a:pt x="42" y="794"/>
                    </a:lnTo>
                    <a:lnTo>
                      <a:pt x="60" y="828"/>
                    </a:lnTo>
                    <a:lnTo>
                      <a:pt x="80" y="860"/>
                    </a:lnTo>
                    <a:lnTo>
                      <a:pt x="80" y="860"/>
                    </a:lnTo>
                    <a:lnTo>
                      <a:pt x="104" y="888"/>
                    </a:lnTo>
                    <a:lnTo>
                      <a:pt x="130" y="914"/>
                    </a:lnTo>
                    <a:lnTo>
                      <a:pt x="146" y="926"/>
                    </a:lnTo>
                    <a:lnTo>
                      <a:pt x="160" y="936"/>
                    </a:lnTo>
                    <a:lnTo>
                      <a:pt x="176" y="946"/>
                    </a:lnTo>
                    <a:lnTo>
                      <a:pt x="194" y="954"/>
                    </a:lnTo>
                    <a:lnTo>
                      <a:pt x="194" y="954"/>
                    </a:lnTo>
                    <a:lnTo>
                      <a:pt x="210" y="960"/>
                    </a:lnTo>
                    <a:lnTo>
                      <a:pt x="228" y="966"/>
                    </a:lnTo>
                    <a:lnTo>
                      <a:pt x="246" y="970"/>
                    </a:lnTo>
                    <a:lnTo>
                      <a:pt x="264" y="974"/>
                    </a:lnTo>
                    <a:lnTo>
                      <a:pt x="284" y="976"/>
                    </a:lnTo>
                    <a:lnTo>
                      <a:pt x="302" y="976"/>
                    </a:lnTo>
                    <a:lnTo>
                      <a:pt x="320" y="976"/>
                    </a:lnTo>
                    <a:lnTo>
                      <a:pt x="340" y="974"/>
                    </a:lnTo>
                    <a:lnTo>
                      <a:pt x="340" y="974"/>
                    </a:lnTo>
                    <a:lnTo>
                      <a:pt x="378" y="968"/>
                    </a:lnTo>
                    <a:lnTo>
                      <a:pt x="416" y="956"/>
                    </a:lnTo>
                    <a:lnTo>
                      <a:pt x="454" y="940"/>
                    </a:lnTo>
                    <a:lnTo>
                      <a:pt x="490" y="920"/>
                    </a:lnTo>
                    <a:lnTo>
                      <a:pt x="490" y="920"/>
                    </a:lnTo>
                    <a:lnTo>
                      <a:pt x="526" y="894"/>
                    </a:lnTo>
                    <a:lnTo>
                      <a:pt x="562" y="864"/>
                    </a:lnTo>
                    <a:lnTo>
                      <a:pt x="594" y="832"/>
                    </a:lnTo>
                    <a:lnTo>
                      <a:pt x="626" y="794"/>
                    </a:lnTo>
                    <a:lnTo>
                      <a:pt x="626" y="794"/>
                    </a:lnTo>
                    <a:lnTo>
                      <a:pt x="654" y="754"/>
                    </a:lnTo>
                    <a:lnTo>
                      <a:pt x="682" y="710"/>
                    </a:lnTo>
                    <a:lnTo>
                      <a:pt x="704" y="662"/>
                    </a:lnTo>
                    <a:lnTo>
                      <a:pt x="726" y="612"/>
                    </a:lnTo>
                    <a:lnTo>
                      <a:pt x="726" y="612"/>
                    </a:lnTo>
                    <a:lnTo>
                      <a:pt x="734" y="584"/>
                    </a:lnTo>
                    <a:lnTo>
                      <a:pt x="742" y="556"/>
                    </a:lnTo>
                    <a:lnTo>
                      <a:pt x="750" y="528"/>
                    </a:lnTo>
                    <a:lnTo>
                      <a:pt x="756" y="500"/>
                    </a:lnTo>
                    <a:lnTo>
                      <a:pt x="756" y="500"/>
                    </a:lnTo>
                    <a:lnTo>
                      <a:pt x="744" y="546"/>
                    </a:lnTo>
                    <a:lnTo>
                      <a:pt x="730" y="59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3" name="Freeform 228"/>
              <p:cNvSpPr/>
              <p:nvPr>
                <p:custDataLst>
                  <p:tags r:id="rId88"/>
                </p:custDataLst>
              </p:nvPr>
            </p:nvSpPr>
            <p:spPr bwMode="auto">
              <a:xfrm>
                <a:off x="3530513" y="3423353"/>
                <a:ext cx="660585" cy="762540"/>
              </a:xfrm>
              <a:custGeom>
                <a:avLst/>
                <a:gdLst>
                  <a:gd name="T0" fmla="*/ 608 w 622"/>
                  <a:gd name="T1" fmla="*/ 0 h 718"/>
                  <a:gd name="T2" fmla="*/ 0 w 622"/>
                  <a:gd name="T3" fmla="*/ 666 h 718"/>
                  <a:gd name="T4" fmla="*/ 0 w 622"/>
                  <a:gd name="T5" fmla="*/ 666 h 718"/>
                  <a:gd name="T6" fmla="*/ 26 w 622"/>
                  <a:gd name="T7" fmla="*/ 682 h 718"/>
                  <a:gd name="T8" fmla="*/ 54 w 622"/>
                  <a:gd name="T9" fmla="*/ 698 h 718"/>
                  <a:gd name="T10" fmla="*/ 54 w 622"/>
                  <a:gd name="T11" fmla="*/ 698 h 718"/>
                  <a:gd name="T12" fmla="*/ 70 w 622"/>
                  <a:gd name="T13" fmla="*/ 704 h 718"/>
                  <a:gd name="T14" fmla="*/ 88 w 622"/>
                  <a:gd name="T15" fmla="*/ 710 h 718"/>
                  <a:gd name="T16" fmla="*/ 106 w 622"/>
                  <a:gd name="T17" fmla="*/ 714 h 718"/>
                  <a:gd name="T18" fmla="*/ 124 w 622"/>
                  <a:gd name="T19" fmla="*/ 718 h 718"/>
                  <a:gd name="T20" fmla="*/ 622 w 622"/>
                  <a:gd name="T21" fmla="*/ 70 h 718"/>
                  <a:gd name="T22" fmla="*/ 622 w 622"/>
                  <a:gd name="T23" fmla="*/ 70 h 718"/>
                  <a:gd name="T24" fmla="*/ 616 w 622"/>
                  <a:gd name="T25" fmla="*/ 34 h 718"/>
                  <a:gd name="T26" fmla="*/ 608 w 622"/>
                  <a:gd name="T27"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2" h="718">
                    <a:moveTo>
                      <a:pt x="608" y="0"/>
                    </a:moveTo>
                    <a:lnTo>
                      <a:pt x="0" y="666"/>
                    </a:lnTo>
                    <a:lnTo>
                      <a:pt x="0" y="666"/>
                    </a:lnTo>
                    <a:lnTo>
                      <a:pt x="26" y="682"/>
                    </a:lnTo>
                    <a:lnTo>
                      <a:pt x="54" y="698"/>
                    </a:lnTo>
                    <a:lnTo>
                      <a:pt x="54" y="698"/>
                    </a:lnTo>
                    <a:lnTo>
                      <a:pt x="70" y="704"/>
                    </a:lnTo>
                    <a:lnTo>
                      <a:pt x="88" y="710"/>
                    </a:lnTo>
                    <a:lnTo>
                      <a:pt x="106" y="714"/>
                    </a:lnTo>
                    <a:lnTo>
                      <a:pt x="124" y="718"/>
                    </a:lnTo>
                    <a:lnTo>
                      <a:pt x="622" y="70"/>
                    </a:lnTo>
                    <a:lnTo>
                      <a:pt x="622" y="70"/>
                    </a:lnTo>
                    <a:lnTo>
                      <a:pt x="616" y="34"/>
                    </a:lnTo>
                    <a:lnTo>
                      <a:pt x="6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4" name="Freeform 229"/>
              <p:cNvSpPr/>
              <p:nvPr>
                <p:custDataLst>
                  <p:tags r:id="rId89"/>
                </p:custDataLst>
              </p:nvPr>
            </p:nvSpPr>
            <p:spPr bwMode="auto">
              <a:xfrm>
                <a:off x="3511397" y="3230062"/>
                <a:ext cx="649965" cy="898481"/>
              </a:xfrm>
              <a:custGeom>
                <a:avLst/>
                <a:gdLst>
                  <a:gd name="T0" fmla="*/ 536 w 612"/>
                  <a:gd name="T1" fmla="*/ 12 h 846"/>
                  <a:gd name="T2" fmla="*/ 536 w 612"/>
                  <a:gd name="T3" fmla="*/ 12 h 846"/>
                  <a:gd name="T4" fmla="*/ 524 w 612"/>
                  <a:gd name="T5" fmla="*/ 0 h 846"/>
                  <a:gd name="T6" fmla="*/ 0 w 612"/>
                  <a:gd name="T7" fmla="*/ 832 h 846"/>
                  <a:gd name="T8" fmla="*/ 0 w 612"/>
                  <a:gd name="T9" fmla="*/ 832 h 846"/>
                  <a:gd name="T10" fmla="*/ 16 w 612"/>
                  <a:gd name="T11" fmla="*/ 846 h 846"/>
                  <a:gd name="T12" fmla="*/ 612 w 612"/>
                  <a:gd name="T13" fmla="*/ 134 h 846"/>
                  <a:gd name="T14" fmla="*/ 612 w 612"/>
                  <a:gd name="T15" fmla="*/ 134 h 846"/>
                  <a:gd name="T16" fmla="*/ 598 w 612"/>
                  <a:gd name="T17" fmla="*/ 100 h 846"/>
                  <a:gd name="T18" fmla="*/ 580 w 612"/>
                  <a:gd name="T19" fmla="*/ 68 h 846"/>
                  <a:gd name="T20" fmla="*/ 560 w 612"/>
                  <a:gd name="T21" fmla="*/ 38 h 846"/>
                  <a:gd name="T22" fmla="*/ 536 w 612"/>
                  <a:gd name="T23" fmla="*/ 1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2" h="846">
                    <a:moveTo>
                      <a:pt x="536" y="12"/>
                    </a:moveTo>
                    <a:lnTo>
                      <a:pt x="536" y="12"/>
                    </a:lnTo>
                    <a:lnTo>
                      <a:pt x="524" y="0"/>
                    </a:lnTo>
                    <a:lnTo>
                      <a:pt x="0" y="832"/>
                    </a:lnTo>
                    <a:lnTo>
                      <a:pt x="0" y="832"/>
                    </a:lnTo>
                    <a:lnTo>
                      <a:pt x="16" y="846"/>
                    </a:lnTo>
                    <a:lnTo>
                      <a:pt x="612" y="134"/>
                    </a:lnTo>
                    <a:lnTo>
                      <a:pt x="612" y="134"/>
                    </a:lnTo>
                    <a:lnTo>
                      <a:pt x="598" y="100"/>
                    </a:lnTo>
                    <a:lnTo>
                      <a:pt x="580" y="68"/>
                    </a:lnTo>
                    <a:lnTo>
                      <a:pt x="560" y="38"/>
                    </a:lnTo>
                    <a:lnTo>
                      <a:pt x="536"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5" name="Freeform 230"/>
              <p:cNvSpPr/>
              <p:nvPr>
                <p:custDataLst>
                  <p:tags r:id="rId90"/>
                </p:custDataLst>
              </p:nvPr>
            </p:nvSpPr>
            <p:spPr bwMode="auto">
              <a:xfrm>
                <a:off x="3464667" y="3151471"/>
                <a:ext cx="505527" cy="955830"/>
              </a:xfrm>
              <a:custGeom>
                <a:avLst/>
                <a:gdLst>
                  <a:gd name="T0" fmla="*/ 454 w 476"/>
                  <a:gd name="T1" fmla="*/ 10 h 900"/>
                  <a:gd name="T2" fmla="*/ 454 w 476"/>
                  <a:gd name="T3" fmla="*/ 10 h 900"/>
                  <a:gd name="T4" fmla="*/ 436 w 476"/>
                  <a:gd name="T5" fmla="*/ 6 h 900"/>
                  <a:gd name="T6" fmla="*/ 418 w 476"/>
                  <a:gd name="T7" fmla="*/ 2 h 900"/>
                  <a:gd name="T8" fmla="*/ 400 w 476"/>
                  <a:gd name="T9" fmla="*/ 0 h 900"/>
                  <a:gd name="T10" fmla="*/ 382 w 476"/>
                  <a:gd name="T11" fmla="*/ 0 h 900"/>
                  <a:gd name="T12" fmla="*/ 344 w 476"/>
                  <a:gd name="T13" fmla="*/ 2 h 900"/>
                  <a:gd name="T14" fmla="*/ 308 w 476"/>
                  <a:gd name="T15" fmla="*/ 10 h 900"/>
                  <a:gd name="T16" fmla="*/ 308 w 476"/>
                  <a:gd name="T17" fmla="*/ 10 h 900"/>
                  <a:gd name="T18" fmla="*/ 272 w 476"/>
                  <a:gd name="T19" fmla="*/ 20 h 900"/>
                  <a:gd name="T20" fmla="*/ 236 w 476"/>
                  <a:gd name="T21" fmla="*/ 36 h 900"/>
                  <a:gd name="T22" fmla="*/ 202 w 476"/>
                  <a:gd name="T23" fmla="*/ 54 h 900"/>
                  <a:gd name="T24" fmla="*/ 168 w 476"/>
                  <a:gd name="T25" fmla="*/ 76 h 900"/>
                  <a:gd name="T26" fmla="*/ 168 w 476"/>
                  <a:gd name="T27" fmla="*/ 76 h 900"/>
                  <a:gd name="T28" fmla="*/ 148 w 476"/>
                  <a:gd name="T29" fmla="*/ 92 h 900"/>
                  <a:gd name="T30" fmla="*/ 128 w 476"/>
                  <a:gd name="T31" fmla="*/ 110 h 900"/>
                  <a:gd name="T32" fmla="*/ 0 w 476"/>
                  <a:gd name="T33" fmla="*/ 858 h 900"/>
                  <a:gd name="T34" fmla="*/ 0 w 476"/>
                  <a:gd name="T35" fmla="*/ 858 h 900"/>
                  <a:gd name="T36" fmla="*/ 2 w 476"/>
                  <a:gd name="T37" fmla="*/ 860 h 900"/>
                  <a:gd name="T38" fmla="*/ 2 w 476"/>
                  <a:gd name="T39" fmla="*/ 860 h 900"/>
                  <a:gd name="T40" fmla="*/ 18 w 476"/>
                  <a:gd name="T41" fmla="*/ 880 h 900"/>
                  <a:gd name="T42" fmla="*/ 36 w 476"/>
                  <a:gd name="T43" fmla="*/ 900 h 900"/>
                  <a:gd name="T44" fmla="*/ 476 w 476"/>
                  <a:gd name="T45" fmla="*/ 16 h 900"/>
                  <a:gd name="T46" fmla="*/ 476 w 476"/>
                  <a:gd name="T47" fmla="*/ 16 h 900"/>
                  <a:gd name="T48" fmla="*/ 454 w 476"/>
                  <a:gd name="T49" fmla="*/ 1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6" h="900">
                    <a:moveTo>
                      <a:pt x="454" y="10"/>
                    </a:moveTo>
                    <a:lnTo>
                      <a:pt x="454" y="10"/>
                    </a:lnTo>
                    <a:lnTo>
                      <a:pt x="436" y="6"/>
                    </a:lnTo>
                    <a:lnTo>
                      <a:pt x="418" y="2"/>
                    </a:lnTo>
                    <a:lnTo>
                      <a:pt x="400" y="0"/>
                    </a:lnTo>
                    <a:lnTo>
                      <a:pt x="382" y="0"/>
                    </a:lnTo>
                    <a:lnTo>
                      <a:pt x="344" y="2"/>
                    </a:lnTo>
                    <a:lnTo>
                      <a:pt x="308" y="10"/>
                    </a:lnTo>
                    <a:lnTo>
                      <a:pt x="308" y="10"/>
                    </a:lnTo>
                    <a:lnTo>
                      <a:pt x="272" y="20"/>
                    </a:lnTo>
                    <a:lnTo>
                      <a:pt x="236" y="36"/>
                    </a:lnTo>
                    <a:lnTo>
                      <a:pt x="202" y="54"/>
                    </a:lnTo>
                    <a:lnTo>
                      <a:pt x="168" y="76"/>
                    </a:lnTo>
                    <a:lnTo>
                      <a:pt x="168" y="76"/>
                    </a:lnTo>
                    <a:lnTo>
                      <a:pt x="148" y="92"/>
                    </a:lnTo>
                    <a:lnTo>
                      <a:pt x="128" y="110"/>
                    </a:lnTo>
                    <a:lnTo>
                      <a:pt x="0" y="858"/>
                    </a:lnTo>
                    <a:lnTo>
                      <a:pt x="0" y="858"/>
                    </a:lnTo>
                    <a:lnTo>
                      <a:pt x="2" y="860"/>
                    </a:lnTo>
                    <a:lnTo>
                      <a:pt x="2" y="860"/>
                    </a:lnTo>
                    <a:lnTo>
                      <a:pt x="18" y="880"/>
                    </a:lnTo>
                    <a:lnTo>
                      <a:pt x="36" y="900"/>
                    </a:lnTo>
                    <a:lnTo>
                      <a:pt x="476" y="16"/>
                    </a:lnTo>
                    <a:lnTo>
                      <a:pt x="476" y="16"/>
                    </a:lnTo>
                    <a:lnTo>
                      <a:pt x="454"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6" name="Freeform 233"/>
              <p:cNvSpPr/>
              <p:nvPr>
                <p:custDataLst>
                  <p:tags r:id="rId91"/>
                </p:custDataLst>
              </p:nvPr>
            </p:nvSpPr>
            <p:spPr bwMode="auto">
              <a:xfrm>
                <a:off x="3917093" y="3824800"/>
                <a:ext cx="61598" cy="108327"/>
              </a:xfrm>
              <a:custGeom>
                <a:avLst/>
                <a:gdLst>
                  <a:gd name="T0" fmla="*/ 54 w 58"/>
                  <a:gd name="T1" fmla="*/ 0 h 102"/>
                  <a:gd name="T2" fmla="*/ 54 w 58"/>
                  <a:gd name="T3" fmla="*/ 0 h 102"/>
                  <a:gd name="T4" fmla="*/ 50 w 58"/>
                  <a:gd name="T5" fmla="*/ 16 h 102"/>
                  <a:gd name="T6" fmla="*/ 44 w 58"/>
                  <a:gd name="T7" fmla="*/ 32 h 102"/>
                  <a:gd name="T8" fmla="*/ 44 w 58"/>
                  <a:gd name="T9" fmla="*/ 32 h 102"/>
                  <a:gd name="T10" fmla="*/ 30 w 58"/>
                  <a:gd name="T11" fmla="*/ 60 h 102"/>
                  <a:gd name="T12" fmla="*/ 16 w 58"/>
                  <a:gd name="T13" fmla="*/ 84 h 102"/>
                  <a:gd name="T14" fmla="*/ 16 w 58"/>
                  <a:gd name="T15" fmla="*/ 84 h 102"/>
                  <a:gd name="T16" fmla="*/ 0 w 58"/>
                  <a:gd name="T17" fmla="*/ 102 h 102"/>
                  <a:gd name="T18" fmla="*/ 18 w 58"/>
                  <a:gd name="T19" fmla="*/ 96 h 102"/>
                  <a:gd name="T20" fmla="*/ 18 w 58"/>
                  <a:gd name="T21" fmla="*/ 96 h 102"/>
                  <a:gd name="T22" fmla="*/ 32 w 58"/>
                  <a:gd name="T23" fmla="*/ 74 h 102"/>
                  <a:gd name="T24" fmla="*/ 44 w 58"/>
                  <a:gd name="T25" fmla="*/ 48 h 102"/>
                  <a:gd name="T26" fmla="*/ 44 w 58"/>
                  <a:gd name="T27" fmla="*/ 48 h 102"/>
                  <a:gd name="T28" fmla="*/ 52 w 58"/>
                  <a:gd name="T29" fmla="*/ 24 h 102"/>
                  <a:gd name="T30" fmla="*/ 58 w 58"/>
                  <a:gd name="T31" fmla="*/ 2 h 102"/>
                  <a:gd name="T32" fmla="*/ 54 w 58"/>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102">
                    <a:moveTo>
                      <a:pt x="54" y="0"/>
                    </a:moveTo>
                    <a:lnTo>
                      <a:pt x="54" y="0"/>
                    </a:lnTo>
                    <a:lnTo>
                      <a:pt x="50" y="16"/>
                    </a:lnTo>
                    <a:lnTo>
                      <a:pt x="44" y="32"/>
                    </a:lnTo>
                    <a:lnTo>
                      <a:pt x="44" y="32"/>
                    </a:lnTo>
                    <a:lnTo>
                      <a:pt x="30" y="60"/>
                    </a:lnTo>
                    <a:lnTo>
                      <a:pt x="16" y="84"/>
                    </a:lnTo>
                    <a:lnTo>
                      <a:pt x="16" y="84"/>
                    </a:lnTo>
                    <a:lnTo>
                      <a:pt x="0" y="102"/>
                    </a:lnTo>
                    <a:lnTo>
                      <a:pt x="18" y="96"/>
                    </a:lnTo>
                    <a:lnTo>
                      <a:pt x="18" y="96"/>
                    </a:lnTo>
                    <a:lnTo>
                      <a:pt x="32" y="74"/>
                    </a:lnTo>
                    <a:lnTo>
                      <a:pt x="44" y="48"/>
                    </a:lnTo>
                    <a:lnTo>
                      <a:pt x="44" y="48"/>
                    </a:lnTo>
                    <a:lnTo>
                      <a:pt x="52" y="24"/>
                    </a:lnTo>
                    <a:lnTo>
                      <a:pt x="58" y="2"/>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7" name="Freeform 235"/>
              <p:cNvSpPr/>
              <p:nvPr>
                <p:custDataLst>
                  <p:tags r:id="rId92"/>
                </p:custDataLst>
              </p:nvPr>
            </p:nvSpPr>
            <p:spPr bwMode="auto">
              <a:xfrm>
                <a:off x="3836379" y="3754706"/>
                <a:ext cx="14869" cy="25489"/>
              </a:xfrm>
              <a:custGeom>
                <a:avLst/>
                <a:gdLst>
                  <a:gd name="T0" fmla="*/ 4 w 14"/>
                  <a:gd name="T1" fmla="*/ 0 h 24"/>
                  <a:gd name="T2" fmla="*/ 0 w 14"/>
                  <a:gd name="T3" fmla="*/ 6 h 24"/>
                  <a:gd name="T4" fmla="*/ 0 w 14"/>
                  <a:gd name="T5" fmla="*/ 6 h 24"/>
                  <a:gd name="T6" fmla="*/ 8 w 14"/>
                  <a:gd name="T7" fmla="*/ 14 h 24"/>
                  <a:gd name="T8" fmla="*/ 14 w 14"/>
                  <a:gd name="T9" fmla="*/ 24 h 24"/>
                  <a:gd name="T10" fmla="*/ 14 w 14"/>
                  <a:gd name="T11" fmla="*/ 22 h 24"/>
                  <a:gd name="T12" fmla="*/ 14 w 14"/>
                  <a:gd name="T13" fmla="*/ 22 h 24"/>
                  <a:gd name="T14" fmla="*/ 14 w 14"/>
                  <a:gd name="T15" fmla="*/ 22 h 24"/>
                  <a:gd name="T16" fmla="*/ 14 w 14"/>
                  <a:gd name="T17" fmla="*/ 22 h 24"/>
                  <a:gd name="T18" fmla="*/ 10 w 14"/>
                  <a:gd name="T19" fmla="*/ 12 h 24"/>
                  <a:gd name="T20" fmla="*/ 4 w 14"/>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4">
                    <a:moveTo>
                      <a:pt x="4" y="0"/>
                    </a:moveTo>
                    <a:lnTo>
                      <a:pt x="0" y="6"/>
                    </a:lnTo>
                    <a:lnTo>
                      <a:pt x="0" y="6"/>
                    </a:lnTo>
                    <a:lnTo>
                      <a:pt x="8" y="14"/>
                    </a:lnTo>
                    <a:lnTo>
                      <a:pt x="14" y="24"/>
                    </a:lnTo>
                    <a:lnTo>
                      <a:pt x="14" y="22"/>
                    </a:lnTo>
                    <a:lnTo>
                      <a:pt x="14" y="22"/>
                    </a:lnTo>
                    <a:lnTo>
                      <a:pt x="14" y="22"/>
                    </a:lnTo>
                    <a:lnTo>
                      <a:pt x="14" y="22"/>
                    </a:lnTo>
                    <a:lnTo>
                      <a:pt x="10"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8" name="Freeform 236"/>
              <p:cNvSpPr/>
              <p:nvPr>
                <p:custDataLst>
                  <p:tags r:id="rId93"/>
                </p:custDataLst>
              </p:nvPr>
            </p:nvSpPr>
            <p:spPr bwMode="auto">
              <a:xfrm>
                <a:off x="3723803" y="3654875"/>
                <a:ext cx="29737" cy="31861"/>
              </a:xfrm>
              <a:custGeom>
                <a:avLst/>
                <a:gdLst>
                  <a:gd name="T0" fmla="*/ 4 w 28"/>
                  <a:gd name="T1" fmla="*/ 0 h 30"/>
                  <a:gd name="T2" fmla="*/ 0 w 28"/>
                  <a:gd name="T3" fmla="*/ 8 h 30"/>
                  <a:gd name="T4" fmla="*/ 0 w 28"/>
                  <a:gd name="T5" fmla="*/ 8 h 30"/>
                  <a:gd name="T6" fmla="*/ 24 w 28"/>
                  <a:gd name="T7" fmla="*/ 30 h 30"/>
                  <a:gd name="T8" fmla="*/ 28 w 28"/>
                  <a:gd name="T9" fmla="*/ 22 h 30"/>
                  <a:gd name="T10" fmla="*/ 28 w 28"/>
                  <a:gd name="T11" fmla="*/ 22 h 30"/>
                  <a:gd name="T12" fmla="*/ 4 w 28"/>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8" h="30">
                    <a:moveTo>
                      <a:pt x="4" y="0"/>
                    </a:moveTo>
                    <a:lnTo>
                      <a:pt x="0" y="8"/>
                    </a:lnTo>
                    <a:lnTo>
                      <a:pt x="0" y="8"/>
                    </a:lnTo>
                    <a:lnTo>
                      <a:pt x="24" y="30"/>
                    </a:lnTo>
                    <a:lnTo>
                      <a:pt x="28" y="22"/>
                    </a:lnTo>
                    <a:lnTo>
                      <a:pt x="28" y="2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49" name="Freeform 237"/>
              <p:cNvSpPr/>
              <p:nvPr>
                <p:custDataLst>
                  <p:tags r:id="rId94"/>
                </p:custDataLst>
              </p:nvPr>
            </p:nvSpPr>
            <p:spPr bwMode="auto">
              <a:xfrm>
                <a:off x="4012676" y="3540176"/>
                <a:ext cx="46730" cy="21241"/>
              </a:xfrm>
              <a:custGeom>
                <a:avLst/>
                <a:gdLst>
                  <a:gd name="T0" fmla="*/ 8 w 44"/>
                  <a:gd name="T1" fmla="*/ 0 h 20"/>
                  <a:gd name="T2" fmla="*/ 0 w 44"/>
                  <a:gd name="T3" fmla="*/ 10 h 20"/>
                  <a:gd name="T4" fmla="*/ 36 w 44"/>
                  <a:gd name="T5" fmla="*/ 20 h 20"/>
                  <a:gd name="T6" fmla="*/ 44 w 44"/>
                  <a:gd name="T7" fmla="*/ 10 h 20"/>
                  <a:gd name="T8" fmla="*/ 8 w 44"/>
                  <a:gd name="T9" fmla="*/ 0 h 20"/>
                </a:gdLst>
                <a:ahLst/>
                <a:cxnLst>
                  <a:cxn ang="0">
                    <a:pos x="T0" y="T1"/>
                  </a:cxn>
                  <a:cxn ang="0">
                    <a:pos x="T2" y="T3"/>
                  </a:cxn>
                  <a:cxn ang="0">
                    <a:pos x="T4" y="T5"/>
                  </a:cxn>
                  <a:cxn ang="0">
                    <a:pos x="T6" y="T7"/>
                  </a:cxn>
                  <a:cxn ang="0">
                    <a:pos x="T8" y="T9"/>
                  </a:cxn>
                </a:cxnLst>
                <a:rect l="0" t="0" r="r" b="b"/>
                <a:pathLst>
                  <a:path w="44" h="20">
                    <a:moveTo>
                      <a:pt x="8" y="0"/>
                    </a:moveTo>
                    <a:lnTo>
                      <a:pt x="0" y="10"/>
                    </a:lnTo>
                    <a:lnTo>
                      <a:pt x="36" y="20"/>
                    </a:lnTo>
                    <a:lnTo>
                      <a:pt x="44" y="1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0" name="Freeform 238"/>
              <p:cNvSpPr/>
              <p:nvPr>
                <p:custDataLst>
                  <p:tags r:id="rId95"/>
                </p:custDataLst>
              </p:nvPr>
            </p:nvSpPr>
            <p:spPr bwMode="auto">
              <a:xfrm>
                <a:off x="4072149" y="3504067"/>
                <a:ext cx="4248" cy="33985"/>
              </a:xfrm>
              <a:custGeom>
                <a:avLst/>
                <a:gdLst>
                  <a:gd name="T0" fmla="*/ 4 w 4"/>
                  <a:gd name="T1" fmla="*/ 0 h 32"/>
                  <a:gd name="T2" fmla="*/ 4 w 4"/>
                  <a:gd name="T3" fmla="*/ 0 h 32"/>
                  <a:gd name="T4" fmla="*/ 0 w 4"/>
                  <a:gd name="T5" fmla="*/ 32 h 32"/>
                  <a:gd name="T6" fmla="*/ 2 w 4"/>
                  <a:gd name="T7" fmla="*/ 30 h 32"/>
                  <a:gd name="T8" fmla="*/ 2 w 4"/>
                  <a:gd name="T9" fmla="*/ 30 h 32"/>
                  <a:gd name="T10" fmla="*/ 4 w 4"/>
                  <a:gd name="T11" fmla="*/ 0 h 32"/>
                </a:gdLst>
                <a:ahLst/>
                <a:cxnLst>
                  <a:cxn ang="0">
                    <a:pos x="T0" y="T1"/>
                  </a:cxn>
                  <a:cxn ang="0">
                    <a:pos x="T2" y="T3"/>
                  </a:cxn>
                  <a:cxn ang="0">
                    <a:pos x="T4" y="T5"/>
                  </a:cxn>
                  <a:cxn ang="0">
                    <a:pos x="T6" y="T7"/>
                  </a:cxn>
                  <a:cxn ang="0">
                    <a:pos x="T8" y="T9"/>
                  </a:cxn>
                  <a:cxn ang="0">
                    <a:pos x="T10" y="T11"/>
                  </a:cxn>
                </a:cxnLst>
                <a:rect l="0" t="0" r="r" b="b"/>
                <a:pathLst>
                  <a:path w="4" h="32">
                    <a:moveTo>
                      <a:pt x="4" y="0"/>
                    </a:moveTo>
                    <a:lnTo>
                      <a:pt x="4" y="0"/>
                    </a:lnTo>
                    <a:lnTo>
                      <a:pt x="0" y="32"/>
                    </a:lnTo>
                    <a:lnTo>
                      <a:pt x="2" y="30"/>
                    </a:lnTo>
                    <a:lnTo>
                      <a:pt x="2" y="3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1" name="Freeform 239"/>
              <p:cNvSpPr/>
              <p:nvPr>
                <p:custDataLst>
                  <p:tags r:id="rId96"/>
                </p:custDataLst>
              </p:nvPr>
            </p:nvSpPr>
            <p:spPr bwMode="auto">
              <a:xfrm>
                <a:off x="3906472" y="3431848"/>
                <a:ext cx="29737" cy="53102"/>
              </a:xfrm>
              <a:custGeom>
                <a:avLst/>
                <a:gdLst>
                  <a:gd name="T0" fmla="*/ 22 w 28"/>
                  <a:gd name="T1" fmla="*/ 0 h 50"/>
                  <a:gd name="T2" fmla="*/ 0 w 28"/>
                  <a:gd name="T3" fmla="*/ 50 h 50"/>
                  <a:gd name="T4" fmla="*/ 20 w 28"/>
                  <a:gd name="T5" fmla="*/ 20 h 50"/>
                  <a:gd name="T6" fmla="*/ 24 w 28"/>
                  <a:gd name="T7" fmla="*/ 12 h 50"/>
                  <a:gd name="T8" fmla="*/ 24 w 28"/>
                  <a:gd name="T9" fmla="*/ 12 h 50"/>
                  <a:gd name="T10" fmla="*/ 24 w 28"/>
                  <a:gd name="T11" fmla="*/ 14 h 50"/>
                  <a:gd name="T12" fmla="*/ 28 w 28"/>
                  <a:gd name="T13" fmla="*/ 8 h 50"/>
                  <a:gd name="T14" fmla="*/ 28 w 28"/>
                  <a:gd name="T15" fmla="*/ 8 h 50"/>
                  <a:gd name="T16" fmla="*/ 22 w 28"/>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50">
                    <a:moveTo>
                      <a:pt x="22" y="0"/>
                    </a:moveTo>
                    <a:lnTo>
                      <a:pt x="0" y="50"/>
                    </a:lnTo>
                    <a:lnTo>
                      <a:pt x="20" y="20"/>
                    </a:lnTo>
                    <a:lnTo>
                      <a:pt x="24" y="12"/>
                    </a:lnTo>
                    <a:lnTo>
                      <a:pt x="24" y="12"/>
                    </a:lnTo>
                    <a:lnTo>
                      <a:pt x="24" y="14"/>
                    </a:lnTo>
                    <a:lnTo>
                      <a:pt x="28" y="8"/>
                    </a:lnTo>
                    <a:lnTo>
                      <a:pt x="28" y="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2" name="Freeform 240"/>
              <p:cNvSpPr/>
              <p:nvPr>
                <p:custDataLst>
                  <p:tags r:id="rId97"/>
                </p:custDataLst>
              </p:nvPr>
            </p:nvSpPr>
            <p:spPr bwMode="auto">
              <a:xfrm>
                <a:off x="3844875" y="3404235"/>
                <a:ext cx="21241" cy="14869"/>
              </a:xfrm>
              <a:custGeom>
                <a:avLst/>
                <a:gdLst>
                  <a:gd name="T0" fmla="*/ 14 w 20"/>
                  <a:gd name="T1" fmla="*/ 0 h 14"/>
                  <a:gd name="T2" fmla="*/ 14 w 20"/>
                  <a:gd name="T3" fmla="*/ 0 h 14"/>
                  <a:gd name="T4" fmla="*/ 8 w 20"/>
                  <a:gd name="T5" fmla="*/ 0 h 14"/>
                  <a:gd name="T6" fmla="*/ 0 w 20"/>
                  <a:gd name="T7" fmla="*/ 14 h 14"/>
                  <a:gd name="T8" fmla="*/ 0 w 20"/>
                  <a:gd name="T9" fmla="*/ 14 h 14"/>
                  <a:gd name="T10" fmla="*/ 14 w 20"/>
                  <a:gd name="T11" fmla="*/ 14 h 14"/>
                  <a:gd name="T12" fmla="*/ 20 w 20"/>
                  <a:gd name="T13" fmla="*/ 0 h 14"/>
                  <a:gd name="T14" fmla="*/ 20 w 20"/>
                  <a:gd name="T15" fmla="*/ 0 h 14"/>
                  <a:gd name="T16" fmla="*/ 14 w 20"/>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4">
                    <a:moveTo>
                      <a:pt x="14" y="0"/>
                    </a:moveTo>
                    <a:lnTo>
                      <a:pt x="14" y="0"/>
                    </a:lnTo>
                    <a:lnTo>
                      <a:pt x="8" y="0"/>
                    </a:lnTo>
                    <a:lnTo>
                      <a:pt x="0" y="14"/>
                    </a:lnTo>
                    <a:lnTo>
                      <a:pt x="0" y="14"/>
                    </a:lnTo>
                    <a:lnTo>
                      <a:pt x="14" y="14"/>
                    </a:lnTo>
                    <a:lnTo>
                      <a:pt x="20" y="0"/>
                    </a:lnTo>
                    <a:lnTo>
                      <a:pt x="20"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3" name="Freeform 241"/>
              <p:cNvSpPr/>
              <p:nvPr>
                <p:custDataLst>
                  <p:tags r:id="rId98"/>
                </p:custDataLst>
              </p:nvPr>
            </p:nvSpPr>
            <p:spPr bwMode="auto">
              <a:xfrm>
                <a:off x="3970194" y="3304404"/>
                <a:ext cx="16992" cy="31861"/>
              </a:xfrm>
              <a:custGeom>
                <a:avLst/>
                <a:gdLst>
                  <a:gd name="T0" fmla="*/ 10 w 16"/>
                  <a:gd name="T1" fmla="*/ 0 h 30"/>
                  <a:gd name="T2" fmla="*/ 0 w 16"/>
                  <a:gd name="T3" fmla="*/ 26 h 30"/>
                  <a:gd name="T4" fmla="*/ 0 w 16"/>
                  <a:gd name="T5" fmla="*/ 26 h 30"/>
                  <a:gd name="T6" fmla="*/ 6 w 16"/>
                  <a:gd name="T7" fmla="*/ 30 h 30"/>
                  <a:gd name="T8" fmla="*/ 16 w 16"/>
                  <a:gd name="T9" fmla="*/ 2 h 30"/>
                  <a:gd name="T10" fmla="*/ 10 w 16"/>
                  <a:gd name="T11" fmla="*/ 0 h 30"/>
                </a:gdLst>
                <a:ahLst/>
                <a:cxnLst>
                  <a:cxn ang="0">
                    <a:pos x="T0" y="T1"/>
                  </a:cxn>
                  <a:cxn ang="0">
                    <a:pos x="T2" y="T3"/>
                  </a:cxn>
                  <a:cxn ang="0">
                    <a:pos x="T4" y="T5"/>
                  </a:cxn>
                  <a:cxn ang="0">
                    <a:pos x="T6" y="T7"/>
                  </a:cxn>
                  <a:cxn ang="0">
                    <a:pos x="T8" y="T9"/>
                  </a:cxn>
                  <a:cxn ang="0">
                    <a:pos x="T10" y="T11"/>
                  </a:cxn>
                </a:cxnLst>
                <a:rect l="0" t="0" r="r" b="b"/>
                <a:pathLst>
                  <a:path w="16" h="30">
                    <a:moveTo>
                      <a:pt x="10" y="0"/>
                    </a:moveTo>
                    <a:lnTo>
                      <a:pt x="0" y="26"/>
                    </a:lnTo>
                    <a:lnTo>
                      <a:pt x="0" y="26"/>
                    </a:lnTo>
                    <a:lnTo>
                      <a:pt x="6" y="30"/>
                    </a:lnTo>
                    <a:lnTo>
                      <a:pt x="16" y="2"/>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4" name="Freeform 243"/>
              <p:cNvSpPr/>
              <p:nvPr>
                <p:custDataLst>
                  <p:tags r:id="rId99"/>
                </p:custDataLst>
              </p:nvPr>
            </p:nvSpPr>
            <p:spPr bwMode="auto">
              <a:xfrm>
                <a:off x="3917093" y="3926757"/>
                <a:ext cx="19117" cy="6372"/>
              </a:xfrm>
              <a:custGeom>
                <a:avLst/>
                <a:gdLst>
                  <a:gd name="T0" fmla="*/ 18 w 18"/>
                  <a:gd name="T1" fmla="*/ 0 h 6"/>
                  <a:gd name="T2" fmla="*/ 0 w 18"/>
                  <a:gd name="T3" fmla="*/ 6 h 6"/>
                  <a:gd name="T4" fmla="*/ 0 w 18"/>
                  <a:gd name="T5" fmla="*/ 6 h 6"/>
                  <a:gd name="T6" fmla="*/ 0 w 18"/>
                  <a:gd name="T7" fmla="*/ 6 h 6"/>
                  <a:gd name="T8" fmla="*/ 16 w 18"/>
                  <a:gd name="T9" fmla="*/ 2 h 6"/>
                  <a:gd name="T10" fmla="*/ 16 w 18"/>
                  <a:gd name="T11" fmla="*/ 2 h 6"/>
                  <a:gd name="T12" fmla="*/ 18 w 1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8" y="0"/>
                    </a:moveTo>
                    <a:lnTo>
                      <a:pt x="0" y="6"/>
                    </a:lnTo>
                    <a:lnTo>
                      <a:pt x="0" y="6"/>
                    </a:lnTo>
                    <a:lnTo>
                      <a:pt x="0" y="6"/>
                    </a:lnTo>
                    <a:lnTo>
                      <a:pt x="16" y="2"/>
                    </a:lnTo>
                    <a:lnTo>
                      <a:pt x="16" y="2"/>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5" name="Freeform 247"/>
              <p:cNvSpPr/>
              <p:nvPr>
                <p:custDataLst>
                  <p:tags r:id="rId100"/>
                </p:custDataLst>
              </p:nvPr>
            </p:nvSpPr>
            <p:spPr bwMode="auto">
              <a:xfrm>
                <a:off x="3742919" y="3843917"/>
                <a:ext cx="25489" cy="44605"/>
              </a:xfrm>
              <a:custGeom>
                <a:avLst/>
                <a:gdLst>
                  <a:gd name="T0" fmla="*/ 24 w 24"/>
                  <a:gd name="T1" fmla="*/ 0 h 42"/>
                  <a:gd name="T2" fmla="*/ 10 w 24"/>
                  <a:gd name="T3" fmla="*/ 14 h 42"/>
                  <a:gd name="T4" fmla="*/ 0 w 24"/>
                  <a:gd name="T5" fmla="*/ 42 h 42"/>
                  <a:gd name="T6" fmla="*/ 0 w 24"/>
                  <a:gd name="T7" fmla="*/ 42 h 42"/>
                  <a:gd name="T8" fmla="*/ 6 w 24"/>
                  <a:gd name="T9" fmla="*/ 42 h 42"/>
                  <a:gd name="T10" fmla="*/ 24 w 24"/>
                  <a:gd name="T11" fmla="*/ 0 h 42"/>
                </a:gdLst>
                <a:ahLst/>
                <a:cxnLst>
                  <a:cxn ang="0">
                    <a:pos x="T0" y="T1"/>
                  </a:cxn>
                  <a:cxn ang="0">
                    <a:pos x="T2" y="T3"/>
                  </a:cxn>
                  <a:cxn ang="0">
                    <a:pos x="T4" y="T5"/>
                  </a:cxn>
                  <a:cxn ang="0">
                    <a:pos x="T6" y="T7"/>
                  </a:cxn>
                  <a:cxn ang="0">
                    <a:pos x="T8" y="T9"/>
                  </a:cxn>
                  <a:cxn ang="0">
                    <a:pos x="T10" y="T11"/>
                  </a:cxn>
                </a:cxnLst>
                <a:rect l="0" t="0" r="r" b="b"/>
                <a:pathLst>
                  <a:path w="24" h="42">
                    <a:moveTo>
                      <a:pt x="24" y="0"/>
                    </a:moveTo>
                    <a:lnTo>
                      <a:pt x="10" y="14"/>
                    </a:lnTo>
                    <a:lnTo>
                      <a:pt x="0" y="42"/>
                    </a:lnTo>
                    <a:lnTo>
                      <a:pt x="0" y="42"/>
                    </a:lnTo>
                    <a:lnTo>
                      <a:pt x="6" y="42"/>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6" name="Freeform 250"/>
              <p:cNvSpPr/>
              <p:nvPr>
                <p:custDataLst>
                  <p:tags r:id="rId101"/>
                </p:custDataLst>
              </p:nvPr>
            </p:nvSpPr>
            <p:spPr bwMode="auto">
              <a:xfrm>
                <a:off x="3609103" y="3950121"/>
                <a:ext cx="27613" cy="23364"/>
              </a:xfrm>
              <a:custGeom>
                <a:avLst/>
                <a:gdLst>
                  <a:gd name="T0" fmla="*/ 6 w 26"/>
                  <a:gd name="T1" fmla="*/ 0 h 22"/>
                  <a:gd name="T2" fmla="*/ 0 w 26"/>
                  <a:gd name="T3" fmla="*/ 8 h 22"/>
                  <a:gd name="T4" fmla="*/ 0 w 26"/>
                  <a:gd name="T5" fmla="*/ 8 h 22"/>
                  <a:gd name="T6" fmla="*/ 22 w 26"/>
                  <a:gd name="T7" fmla="*/ 22 h 22"/>
                  <a:gd name="T8" fmla="*/ 26 w 26"/>
                  <a:gd name="T9" fmla="*/ 12 h 22"/>
                  <a:gd name="T10" fmla="*/ 26 w 26"/>
                  <a:gd name="T11" fmla="*/ 12 h 22"/>
                  <a:gd name="T12" fmla="*/ 6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6" y="0"/>
                    </a:moveTo>
                    <a:lnTo>
                      <a:pt x="0" y="8"/>
                    </a:lnTo>
                    <a:lnTo>
                      <a:pt x="0" y="8"/>
                    </a:lnTo>
                    <a:lnTo>
                      <a:pt x="22" y="22"/>
                    </a:lnTo>
                    <a:lnTo>
                      <a:pt x="26" y="12"/>
                    </a:lnTo>
                    <a:lnTo>
                      <a:pt x="26"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7" name="Freeform 251"/>
              <p:cNvSpPr/>
              <p:nvPr>
                <p:custDataLst>
                  <p:tags r:id="rId102"/>
                </p:custDataLst>
              </p:nvPr>
            </p:nvSpPr>
            <p:spPr bwMode="auto">
              <a:xfrm>
                <a:off x="3528389" y="3829049"/>
                <a:ext cx="61598" cy="110452"/>
              </a:xfrm>
              <a:custGeom>
                <a:avLst/>
                <a:gdLst>
                  <a:gd name="T0" fmla="*/ 0 w 58"/>
                  <a:gd name="T1" fmla="*/ 0 h 104"/>
                  <a:gd name="T2" fmla="*/ 0 w 58"/>
                  <a:gd name="T3" fmla="*/ 0 h 104"/>
                  <a:gd name="T4" fmla="*/ 4 w 58"/>
                  <a:gd name="T5" fmla="*/ 20 h 104"/>
                  <a:gd name="T6" fmla="*/ 12 w 58"/>
                  <a:gd name="T7" fmla="*/ 40 h 104"/>
                  <a:gd name="T8" fmla="*/ 12 w 58"/>
                  <a:gd name="T9" fmla="*/ 40 h 104"/>
                  <a:gd name="T10" fmla="*/ 20 w 58"/>
                  <a:gd name="T11" fmla="*/ 58 h 104"/>
                  <a:gd name="T12" fmla="*/ 30 w 58"/>
                  <a:gd name="T13" fmla="*/ 74 h 104"/>
                  <a:gd name="T14" fmla="*/ 42 w 58"/>
                  <a:gd name="T15" fmla="*/ 88 h 104"/>
                  <a:gd name="T16" fmla="*/ 56 w 58"/>
                  <a:gd name="T17" fmla="*/ 104 h 104"/>
                  <a:gd name="T18" fmla="*/ 58 w 58"/>
                  <a:gd name="T19" fmla="*/ 96 h 104"/>
                  <a:gd name="T20" fmla="*/ 58 w 58"/>
                  <a:gd name="T21" fmla="*/ 96 h 104"/>
                  <a:gd name="T22" fmla="*/ 44 w 58"/>
                  <a:gd name="T23" fmla="*/ 80 h 104"/>
                  <a:gd name="T24" fmla="*/ 30 w 58"/>
                  <a:gd name="T25" fmla="*/ 64 h 104"/>
                  <a:gd name="T26" fmla="*/ 18 w 58"/>
                  <a:gd name="T27" fmla="*/ 46 h 104"/>
                  <a:gd name="T28" fmla="*/ 8 w 58"/>
                  <a:gd name="T29" fmla="*/ 28 h 104"/>
                  <a:gd name="T30" fmla="*/ 8 w 58"/>
                  <a:gd name="T31" fmla="*/ 28 h 104"/>
                  <a:gd name="T32" fmla="*/ 4 w 58"/>
                  <a:gd name="T33" fmla="*/ 14 h 104"/>
                  <a:gd name="T34" fmla="*/ 0 w 58"/>
                  <a:gd name="T3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104">
                    <a:moveTo>
                      <a:pt x="0" y="0"/>
                    </a:moveTo>
                    <a:lnTo>
                      <a:pt x="0" y="0"/>
                    </a:lnTo>
                    <a:lnTo>
                      <a:pt x="4" y="20"/>
                    </a:lnTo>
                    <a:lnTo>
                      <a:pt x="12" y="40"/>
                    </a:lnTo>
                    <a:lnTo>
                      <a:pt x="12" y="40"/>
                    </a:lnTo>
                    <a:lnTo>
                      <a:pt x="20" y="58"/>
                    </a:lnTo>
                    <a:lnTo>
                      <a:pt x="30" y="74"/>
                    </a:lnTo>
                    <a:lnTo>
                      <a:pt x="42" y="88"/>
                    </a:lnTo>
                    <a:lnTo>
                      <a:pt x="56" y="104"/>
                    </a:lnTo>
                    <a:lnTo>
                      <a:pt x="58" y="96"/>
                    </a:lnTo>
                    <a:lnTo>
                      <a:pt x="58" y="96"/>
                    </a:lnTo>
                    <a:lnTo>
                      <a:pt x="44" y="80"/>
                    </a:lnTo>
                    <a:lnTo>
                      <a:pt x="30" y="64"/>
                    </a:lnTo>
                    <a:lnTo>
                      <a:pt x="18" y="46"/>
                    </a:lnTo>
                    <a:lnTo>
                      <a:pt x="8" y="28"/>
                    </a:lnTo>
                    <a:lnTo>
                      <a:pt x="8" y="28"/>
                    </a:lnTo>
                    <a:lnTo>
                      <a:pt x="4"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8" name="Freeform 252"/>
              <p:cNvSpPr/>
              <p:nvPr>
                <p:custDataLst>
                  <p:tags r:id="rId103"/>
                </p:custDataLst>
              </p:nvPr>
            </p:nvSpPr>
            <p:spPr bwMode="auto">
              <a:xfrm>
                <a:off x="3851247" y="3778072"/>
                <a:ext cx="4248" cy="14869"/>
              </a:xfrm>
              <a:custGeom>
                <a:avLst/>
                <a:gdLst>
                  <a:gd name="T0" fmla="*/ 0 w 4"/>
                  <a:gd name="T1" fmla="*/ 0 h 14"/>
                  <a:gd name="T2" fmla="*/ 0 w 4"/>
                  <a:gd name="T3" fmla="*/ 2 h 14"/>
                  <a:gd name="T4" fmla="*/ 0 w 4"/>
                  <a:gd name="T5" fmla="*/ 2 h 14"/>
                  <a:gd name="T6" fmla="*/ 4 w 4"/>
                  <a:gd name="T7" fmla="*/ 12 h 14"/>
                  <a:gd name="T8" fmla="*/ 4 w 4"/>
                  <a:gd name="T9" fmla="*/ 14 h 14"/>
                  <a:gd name="T10" fmla="*/ 4 w 4"/>
                  <a:gd name="T11" fmla="*/ 14 h 14"/>
                  <a:gd name="T12" fmla="*/ 0 w 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 h="14">
                    <a:moveTo>
                      <a:pt x="0" y="0"/>
                    </a:moveTo>
                    <a:lnTo>
                      <a:pt x="0" y="2"/>
                    </a:lnTo>
                    <a:lnTo>
                      <a:pt x="0" y="2"/>
                    </a:lnTo>
                    <a:lnTo>
                      <a:pt x="4" y="12"/>
                    </a:lnTo>
                    <a:lnTo>
                      <a:pt x="4" y="14"/>
                    </a:lnTo>
                    <a:lnTo>
                      <a:pt x="4"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59" name="Freeform 253"/>
              <p:cNvSpPr/>
              <p:nvPr>
                <p:custDataLst>
                  <p:tags r:id="rId104"/>
                </p:custDataLst>
              </p:nvPr>
            </p:nvSpPr>
            <p:spPr bwMode="auto">
              <a:xfrm>
                <a:off x="3649461" y="3748334"/>
                <a:ext cx="4248" cy="27613"/>
              </a:xfrm>
              <a:custGeom>
                <a:avLst/>
                <a:gdLst>
                  <a:gd name="T0" fmla="*/ 0 w 4"/>
                  <a:gd name="T1" fmla="*/ 0 h 26"/>
                  <a:gd name="T2" fmla="*/ 0 w 4"/>
                  <a:gd name="T3" fmla="*/ 0 h 26"/>
                  <a:gd name="T4" fmla="*/ 0 w 4"/>
                  <a:gd name="T5" fmla="*/ 14 h 26"/>
                  <a:gd name="T6" fmla="*/ 0 w 4"/>
                  <a:gd name="T7" fmla="*/ 26 h 26"/>
                  <a:gd name="T8" fmla="*/ 0 w 4"/>
                  <a:gd name="T9" fmla="*/ 26 h 26"/>
                  <a:gd name="T10" fmla="*/ 4 w 4"/>
                  <a:gd name="T11" fmla="*/ 0 h 26"/>
                  <a:gd name="T12" fmla="*/ 0 w 4"/>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 h="26">
                    <a:moveTo>
                      <a:pt x="0" y="0"/>
                    </a:moveTo>
                    <a:lnTo>
                      <a:pt x="0" y="0"/>
                    </a:lnTo>
                    <a:lnTo>
                      <a:pt x="0" y="14"/>
                    </a:lnTo>
                    <a:lnTo>
                      <a:pt x="0" y="26"/>
                    </a:lnTo>
                    <a:lnTo>
                      <a:pt x="0" y="26"/>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60" name="Freeform 254"/>
              <p:cNvSpPr/>
              <p:nvPr>
                <p:custDataLst>
                  <p:tags r:id="rId105"/>
                </p:custDataLst>
              </p:nvPr>
            </p:nvSpPr>
            <p:spPr bwMode="auto">
              <a:xfrm>
                <a:off x="3753539" y="3722845"/>
                <a:ext cx="87086" cy="135941"/>
              </a:xfrm>
              <a:custGeom>
                <a:avLst/>
                <a:gdLst>
                  <a:gd name="T0" fmla="*/ 52 w 82"/>
                  <a:gd name="T1" fmla="*/ 0 h 128"/>
                  <a:gd name="T2" fmla="*/ 0 w 82"/>
                  <a:gd name="T3" fmla="*/ 128 h 128"/>
                  <a:gd name="T4" fmla="*/ 14 w 82"/>
                  <a:gd name="T5" fmla="*/ 114 h 128"/>
                  <a:gd name="T6" fmla="*/ 54 w 82"/>
                  <a:gd name="T7" fmla="*/ 12 h 128"/>
                  <a:gd name="T8" fmla="*/ 54 w 82"/>
                  <a:gd name="T9" fmla="*/ 12 h 128"/>
                  <a:gd name="T10" fmla="*/ 68 w 82"/>
                  <a:gd name="T11" fmla="*/ 24 h 128"/>
                  <a:gd name="T12" fmla="*/ 78 w 82"/>
                  <a:gd name="T13" fmla="*/ 36 h 128"/>
                  <a:gd name="T14" fmla="*/ 82 w 82"/>
                  <a:gd name="T15" fmla="*/ 30 h 128"/>
                  <a:gd name="T16" fmla="*/ 82 w 82"/>
                  <a:gd name="T17" fmla="*/ 30 h 128"/>
                  <a:gd name="T18" fmla="*/ 70 w 82"/>
                  <a:gd name="T19" fmla="*/ 16 h 128"/>
                  <a:gd name="T20" fmla="*/ 52 w 82"/>
                  <a:gd name="T2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128">
                    <a:moveTo>
                      <a:pt x="52" y="0"/>
                    </a:moveTo>
                    <a:lnTo>
                      <a:pt x="0" y="128"/>
                    </a:lnTo>
                    <a:lnTo>
                      <a:pt x="14" y="114"/>
                    </a:lnTo>
                    <a:lnTo>
                      <a:pt x="54" y="12"/>
                    </a:lnTo>
                    <a:lnTo>
                      <a:pt x="54" y="12"/>
                    </a:lnTo>
                    <a:lnTo>
                      <a:pt x="68" y="24"/>
                    </a:lnTo>
                    <a:lnTo>
                      <a:pt x="78" y="36"/>
                    </a:lnTo>
                    <a:lnTo>
                      <a:pt x="82" y="30"/>
                    </a:lnTo>
                    <a:lnTo>
                      <a:pt x="82" y="30"/>
                    </a:lnTo>
                    <a:lnTo>
                      <a:pt x="70" y="16"/>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61" name="Freeform 256"/>
              <p:cNvSpPr/>
              <p:nvPr>
                <p:custDataLst>
                  <p:tags r:id="rId106"/>
                </p:custDataLst>
              </p:nvPr>
            </p:nvSpPr>
            <p:spPr bwMode="auto">
              <a:xfrm>
                <a:off x="4050909" y="3535928"/>
                <a:ext cx="23364" cy="29737"/>
              </a:xfrm>
              <a:custGeom>
                <a:avLst/>
                <a:gdLst>
                  <a:gd name="T0" fmla="*/ 22 w 22"/>
                  <a:gd name="T1" fmla="*/ 0 h 28"/>
                  <a:gd name="T2" fmla="*/ 20 w 22"/>
                  <a:gd name="T3" fmla="*/ 2 h 28"/>
                  <a:gd name="T4" fmla="*/ 20 w 22"/>
                  <a:gd name="T5" fmla="*/ 2 h 28"/>
                  <a:gd name="T6" fmla="*/ 18 w 22"/>
                  <a:gd name="T7" fmla="*/ 14 h 28"/>
                  <a:gd name="T8" fmla="*/ 16 w 22"/>
                  <a:gd name="T9" fmla="*/ 12 h 28"/>
                  <a:gd name="T10" fmla="*/ 16 w 22"/>
                  <a:gd name="T11" fmla="*/ 12 h 28"/>
                  <a:gd name="T12" fmla="*/ 16 w 22"/>
                  <a:gd name="T13" fmla="*/ 16 h 28"/>
                  <a:gd name="T14" fmla="*/ 8 w 22"/>
                  <a:gd name="T15" fmla="*/ 14 h 28"/>
                  <a:gd name="T16" fmla="*/ 0 w 22"/>
                  <a:gd name="T17" fmla="*/ 24 h 28"/>
                  <a:gd name="T18" fmla="*/ 18 w 22"/>
                  <a:gd name="T19" fmla="*/ 28 h 28"/>
                  <a:gd name="T20" fmla="*/ 18 w 22"/>
                  <a:gd name="T21" fmla="*/ 28 h 28"/>
                  <a:gd name="T22" fmla="*/ 22 w 2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8">
                    <a:moveTo>
                      <a:pt x="22" y="0"/>
                    </a:moveTo>
                    <a:lnTo>
                      <a:pt x="20" y="2"/>
                    </a:lnTo>
                    <a:lnTo>
                      <a:pt x="20" y="2"/>
                    </a:lnTo>
                    <a:lnTo>
                      <a:pt x="18" y="14"/>
                    </a:lnTo>
                    <a:lnTo>
                      <a:pt x="16" y="12"/>
                    </a:lnTo>
                    <a:lnTo>
                      <a:pt x="16" y="12"/>
                    </a:lnTo>
                    <a:lnTo>
                      <a:pt x="16" y="16"/>
                    </a:lnTo>
                    <a:lnTo>
                      <a:pt x="8" y="14"/>
                    </a:lnTo>
                    <a:lnTo>
                      <a:pt x="0" y="24"/>
                    </a:lnTo>
                    <a:lnTo>
                      <a:pt x="18" y="28"/>
                    </a:lnTo>
                    <a:lnTo>
                      <a:pt x="18" y="28"/>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62" name="Freeform 257"/>
              <p:cNvSpPr/>
              <p:nvPr>
                <p:custDataLst>
                  <p:tags r:id="rId107"/>
                </p:custDataLst>
              </p:nvPr>
            </p:nvSpPr>
            <p:spPr bwMode="auto">
              <a:xfrm>
                <a:off x="3955326" y="3523184"/>
                <a:ext cx="65845" cy="27613"/>
              </a:xfrm>
              <a:custGeom>
                <a:avLst/>
                <a:gdLst>
                  <a:gd name="T0" fmla="*/ 0 w 62"/>
                  <a:gd name="T1" fmla="*/ 0 h 26"/>
                  <a:gd name="T2" fmla="*/ 0 w 62"/>
                  <a:gd name="T3" fmla="*/ 0 h 26"/>
                  <a:gd name="T4" fmla="*/ 0 w 62"/>
                  <a:gd name="T5" fmla="*/ 12 h 26"/>
                  <a:gd name="T6" fmla="*/ 54 w 62"/>
                  <a:gd name="T7" fmla="*/ 26 h 26"/>
                  <a:gd name="T8" fmla="*/ 62 w 62"/>
                  <a:gd name="T9" fmla="*/ 16 h 26"/>
                  <a:gd name="T10" fmla="*/ 0 w 62"/>
                  <a:gd name="T11" fmla="*/ 0 h 26"/>
                </a:gdLst>
                <a:ahLst/>
                <a:cxnLst>
                  <a:cxn ang="0">
                    <a:pos x="T0" y="T1"/>
                  </a:cxn>
                  <a:cxn ang="0">
                    <a:pos x="T2" y="T3"/>
                  </a:cxn>
                  <a:cxn ang="0">
                    <a:pos x="T4" y="T5"/>
                  </a:cxn>
                  <a:cxn ang="0">
                    <a:pos x="T6" y="T7"/>
                  </a:cxn>
                  <a:cxn ang="0">
                    <a:pos x="T8" y="T9"/>
                  </a:cxn>
                  <a:cxn ang="0">
                    <a:pos x="T10" y="T11"/>
                  </a:cxn>
                </a:cxnLst>
                <a:rect l="0" t="0" r="r" b="b"/>
                <a:pathLst>
                  <a:path w="62" h="26">
                    <a:moveTo>
                      <a:pt x="0" y="0"/>
                    </a:moveTo>
                    <a:lnTo>
                      <a:pt x="0" y="0"/>
                    </a:lnTo>
                    <a:lnTo>
                      <a:pt x="0" y="12"/>
                    </a:lnTo>
                    <a:lnTo>
                      <a:pt x="54" y="26"/>
                    </a:lnTo>
                    <a:lnTo>
                      <a:pt x="62"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63" name="Freeform 258"/>
              <p:cNvSpPr/>
              <p:nvPr>
                <p:custDataLst>
                  <p:tags r:id="rId108"/>
                </p:custDataLst>
              </p:nvPr>
            </p:nvSpPr>
            <p:spPr bwMode="auto">
              <a:xfrm>
                <a:off x="3861868" y="3453089"/>
                <a:ext cx="65845" cy="148685"/>
              </a:xfrm>
              <a:custGeom>
                <a:avLst/>
                <a:gdLst>
                  <a:gd name="T0" fmla="*/ 62 w 62"/>
                  <a:gd name="T1" fmla="*/ 0 h 140"/>
                  <a:gd name="T2" fmla="*/ 42 w 62"/>
                  <a:gd name="T3" fmla="*/ 30 h 140"/>
                  <a:gd name="T4" fmla="*/ 0 w 62"/>
                  <a:gd name="T5" fmla="*/ 136 h 140"/>
                  <a:gd name="T6" fmla="*/ 0 w 62"/>
                  <a:gd name="T7" fmla="*/ 136 h 140"/>
                  <a:gd name="T8" fmla="*/ 4 w 62"/>
                  <a:gd name="T9" fmla="*/ 140 h 140"/>
                  <a:gd name="T10" fmla="*/ 62 w 62"/>
                  <a:gd name="T11" fmla="*/ 0 h 140"/>
                </a:gdLst>
                <a:ahLst/>
                <a:cxnLst>
                  <a:cxn ang="0">
                    <a:pos x="T0" y="T1"/>
                  </a:cxn>
                  <a:cxn ang="0">
                    <a:pos x="T2" y="T3"/>
                  </a:cxn>
                  <a:cxn ang="0">
                    <a:pos x="T4" y="T5"/>
                  </a:cxn>
                  <a:cxn ang="0">
                    <a:pos x="T6" y="T7"/>
                  </a:cxn>
                  <a:cxn ang="0">
                    <a:pos x="T8" y="T9"/>
                  </a:cxn>
                  <a:cxn ang="0">
                    <a:pos x="T10" y="T11"/>
                  </a:cxn>
                </a:cxnLst>
                <a:rect l="0" t="0" r="r" b="b"/>
                <a:pathLst>
                  <a:path w="62" h="140">
                    <a:moveTo>
                      <a:pt x="62" y="0"/>
                    </a:moveTo>
                    <a:lnTo>
                      <a:pt x="42" y="30"/>
                    </a:lnTo>
                    <a:lnTo>
                      <a:pt x="0" y="136"/>
                    </a:lnTo>
                    <a:lnTo>
                      <a:pt x="0" y="136"/>
                    </a:lnTo>
                    <a:lnTo>
                      <a:pt x="4" y="140"/>
                    </a:lnTo>
                    <a:lnTo>
                      <a:pt x="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64" name="Freeform 259"/>
              <p:cNvSpPr/>
              <p:nvPr>
                <p:custDataLst>
                  <p:tags r:id="rId109"/>
                </p:custDataLst>
              </p:nvPr>
            </p:nvSpPr>
            <p:spPr bwMode="auto">
              <a:xfrm>
                <a:off x="3931961" y="3440345"/>
                <a:ext cx="21241" cy="42481"/>
              </a:xfrm>
              <a:custGeom>
                <a:avLst/>
                <a:gdLst>
                  <a:gd name="T0" fmla="*/ 4 w 20"/>
                  <a:gd name="T1" fmla="*/ 0 h 40"/>
                  <a:gd name="T2" fmla="*/ 0 w 20"/>
                  <a:gd name="T3" fmla="*/ 6 h 40"/>
                  <a:gd name="T4" fmla="*/ 0 w 20"/>
                  <a:gd name="T5" fmla="*/ 6 h 40"/>
                  <a:gd name="T6" fmla="*/ 6 w 20"/>
                  <a:gd name="T7" fmla="*/ 14 h 40"/>
                  <a:gd name="T8" fmla="*/ 12 w 20"/>
                  <a:gd name="T9" fmla="*/ 22 h 40"/>
                  <a:gd name="T10" fmla="*/ 20 w 20"/>
                  <a:gd name="T11" fmla="*/ 40 h 40"/>
                  <a:gd name="T12" fmla="*/ 20 w 20"/>
                  <a:gd name="T13" fmla="*/ 40 h 40"/>
                  <a:gd name="T14" fmla="*/ 18 w 20"/>
                  <a:gd name="T15" fmla="*/ 28 h 40"/>
                  <a:gd name="T16" fmla="*/ 14 w 20"/>
                  <a:gd name="T17" fmla="*/ 18 h 40"/>
                  <a:gd name="T18" fmla="*/ 10 w 20"/>
                  <a:gd name="T19" fmla="*/ 8 h 40"/>
                  <a:gd name="T20" fmla="*/ 4 w 2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0">
                    <a:moveTo>
                      <a:pt x="4" y="0"/>
                    </a:moveTo>
                    <a:lnTo>
                      <a:pt x="0" y="6"/>
                    </a:lnTo>
                    <a:lnTo>
                      <a:pt x="0" y="6"/>
                    </a:lnTo>
                    <a:lnTo>
                      <a:pt x="6" y="14"/>
                    </a:lnTo>
                    <a:lnTo>
                      <a:pt x="12" y="22"/>
                    </a:lnTo>
                    <a:lnTo>
                      <a:pt x="20" y="40"/>
                    </a:lnTo>
                    <a:lnTo>
                      <a:pt x="20" y="40"/>
                    </a:lnTo>
                    <a:lnTo>
                      <a:pt x="18" y="28"/>
                    </a:lnTo>
                    <a:lnTo>
                      <a:pt x="14" y="18"/>
                    </a:lnTo>
                    <a:lnTo>
                      <a:pt x="10"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65" name="Freeform 266"/>
              <p:cNvSpPr/>
              <p:nvPr>
                <p:custDataLst>
                  <p:tags r:id="rId110"/>
                </p:custDataLst>
              </p:nvPr>
            </p:nvSpPr>
            <p:spPr bwMode="auto">
              <a:xfrm>
                <a:off x="3978691" y="3771699"/>
                <a:ext cx="2124" cy="19117"/>
              </a:xfrm>
              <a:custGeom>
                <a:avLst/>
                <a:gdLst>
                  <a:gd name="T0" fmla="*/ 2 w 2"/>
                  <a:gd name="T1" fmla="*/ 0 h 18"/>
                  <a:gd name="T2" fmla="*/ 0 w 2"/>
                  <a:gd name="T3" fmla="*/ 2 h 18"/>
                  <a:gd name="T4" fmla="*/ 0 w 2"/>
                  <a:gd name="T5" fmla="*/ 2 h 18"/>
                  <a:gd name="T6" fmla="*/ 2 w 2"/>
                  <a:gd name="T7" fmla="*/ 18 h 18"/>
                  <a:gd name="T8" fmla="*/ 2 w 2"/>
                  <a:gd name="T9" fmla="*/ 18 h 18"/>
                  <a:gd name="T10" fmla="*/ 2 w 2"/>
                  <a:gd name="T11" fmla="*/ 0 h 18"/>
                </a:gdLst>
                <a:ahLst/>
                <a:cxnLst>
                  <a:cxn ang="0">
                    <a:pos x="T0" y="T1"/>
                  </a:cxn>
                  <a:cxn ang="0">
                    <a:pos x="T2" y="T3"/>
                  </a:cxn>
                  <a:cxn ang="0">
                    <a:pos x="T4" y="T5"/>
                  </a:cxn>
                  <a:cxn ang="0">
                    <a:pos x="T6" y="T7"/>
                  </a:cxn>
                  <a:cxn ang="0">
                    <a:pos x="T8" y="T9"/>
                  </a:cxn>
                  <a:cxn ang="0">
                    <a:pos x="T10" y="T11"/>
                  </a:cxn>
                </a:cxnLst>
                <a:rect l="0" t="0" r="r" b="b"/>
                <a:pathLst>
                  <a:path w="2" h="18">
                    <a:moveTo>
                      <a:pt x="2" y="0"/>
                    </a:moveTo>
                    <a:lnTo>
                      <a:pt x="0" y="2"/>
                    </a:lnTo>
                    <a:lnTo>
                      <a:pt x="0" y="2"/>
                    </a:lnTo>
                    <a:lnTo>
                      <a:pt x="2" y="18"/>
                    </a:lnTo>
                    <a:lnTo>
                      <a:pt x="2" y="18"/>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66" name="Freeform 267"/>
              <p:cNvSpPr/>
              <p:nvPr>
                <p:custDataLst>
                  <p:tags r:id="rId111"/>
                </p:custDataLst>
              </p:nvPr>
            </p:nvSpPr>
            <p:spPr bwMode="auto">
              <a:xfrm>
                <a:off x="3842750" y="3654875"/>
                <a:ext cx="101955" cy="121072"/>
              </a:xfrm>
              <a:custGeom>
                <a:avLst/>
                <a:gdLst>
                  <a:gd name="T0" fmla="*/ 78 w 96"/>
                  <a:gd name="T1" fmla="*/ 0 h 114"/>
                  <a:gd name="T2" fmla="*/ 0 w 96"/>
                  <a:gd name="T3" fmla="*/ 92 h 114"/>
                  <a:gd name="T4" fmla="*/ 0 w 96"/>
                  <a:gd name="T5" fmla="*/ 92 h 114"/>
                  <a:gd name="T6" fmla="*/ 6 w 96"/>
                  <a:gd name="T7" fmla="*/ 102 h 114"/>
                  <a:gd name="T8" fmla="*/ 10 w 96"/>
                  <a:gd name="T9" fmla="*/ 112 h 114"/>
                  <a:gd name="T10" fmla="*/ 10 w 96"/>
                  <a:gd name="T11" fmla="*/ 112 h 114"/>
                  <a:gd name="T12" fmla="*/ 12 w 96"/>
                  <a:gd name="T13" fmla="*/ 114 h 114"/>
                  <a:gd name="T14" fmla="*/ 96 w 96"/>
                  <a:gd name="T15" fmla="*/ 22 h 114"/>
                  <a:gd name="T16" fmla="*/ 96 w 96"/>
                  <a:gd name="T17" fmla="*/ 22 h 114"/>
                  <a:gd name="T18" fmla="*/ 78 w 96"/>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14">
                    <a:moveTo>
                      <a:pt x="78" y="0"/>
                    </a:moveTo>
                    <a:lnTo>
                      <a:pt x="0" y="92"/>
                    </a:lnTo>
                    <a:lnTo>
                      <a:pt x="0" y="92"/>
                    </a:lnTo>
                    <a:lnTo>
                      <a:pt x="6" y="102"/>
                    </a:lnTo>
                    <a:lnTo>
                      <a:pt x="10" y="112"/>
                    </a:lnTo>
                    <a:lnTo>
                      <a:pt x="10" y="112"/>
                    </a:lnTo>
                    <a:lnTo>
                      <a:pt x="12" y="114"/>
                    </a:lnTo>
                    <a:lnTo>
                      <a:pt x="96" y="22"/>
                    </a:lnTo>
                    <a:lnTo>
                      <a:pt x="96" y="22"/>
                    </a:lnTo>
                    <a:lnTo>
                      <a:pt x="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67" name="Freeform 268"/>
              <p:cNvSpPr/>
              <p:nvPr>
                <p:custDataLst>
                  <p:tags r:id="rId112"/>
                </p:custDataLst>
              </p:nvPr>
            </p:nvSpPr>
            <p:spPr bwMode="auto">
              <a:xfrm>
                <a:off x="4023296" y="3480703"/>
                <a:ext cx="48853" cy="67970"/>
              </a:xfrm>
              <a:custGeom>
                <a:avLst/>
                <a:gdLst>
                  <a:gd name="T0" fmla="*/ 46 w 46"/>
                  <a:gd name="T1" fmla="*/ 0 h 64"/>
                  <a:gd name="T2" fmla="*/ 0 w 46"/>
                  <a:gd name="T3" fmla="*/ 54 h 64"/>
                  <a:gd name="T4" fmla="*/ 38 w 46"/>
                  <a:gd name="T5" fmla="*/ 64 h 64"/>
                  <a:gd name="T6" fmla="*/ 44 w 46"/>
                  <a:gd name="T7" fmla="*/ 56 h 64"/>
                  <a:gd name="T8" fmla="*/ 44 w 46"/>
                  <a:gd name="T9" fmla="*/ 56 h 64"/>
                  <a:gd name="T10" fmla="*/ 46 w 46"/>
                  <a:gd name="T11" fmla="*/ 28 h 64"/>
                  <a:gd name="T12" fmla="*/ 46 w 46"/>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46" h="64">
                    <a:moveTo>
                      <a:pt x="46" y="0"/>
                    </a:moveTo>
                    <a:lnTo>
                      <a:pt x="0" y="54"/>
                    </a:lnTo>
                    <a:lnTo>
                      <a:pt x="38" y="64"/>
                    </a:lnTo>
                    <a:lnTo>
                      <a:pt x="44" y="56"/>
                    </a:lnTo>
                    <a:lnTo>
                      <a:pt x="44" y="56"/>
                    </a:lnTo>
                    <a:lnTo>
                      <a:pt x="46" y="2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68" name="Freeform 269"/>
              <p:cNvSpPr/>
              <p:nvPr>
                <p:custDataLst>
                  <p:tags r:id="rId113"/>
                </p:custDataLst>
              </p:nvPr>
            </p:nvSpPr>
            <p:spPr bwMode="auto">
              <a:xfrm>
                <a:off x="4072149" y="3476454"/>
                <a:ext cx="4248" cy="27613"/>
              </a:xfrm>
              <a:custGeom>
                <a:avLst/>
                <a:gdLst>
                  <a:gd name="T0" fmla="*/ 2 w 4"/>
                  <a:gd name="T1" fmla="*/ 0 h 26"/>
                  <a:gd name="T2" fmla="*/ 0 w 4"/>
                  <a:gd name="T3" fmla="*/ 2 h 26"/>
                  <a:gd name="T4" fmla="*/ 0 w 4"/>
                  <a:gd name="T5" fmla="*/ 2 h 26"/>
                  <a:gd name="T6" fmla="*/ 4 w 4"/>
                  <a:gd name="T7" fmla="*/ 26 h 26"/>
                  <a:gd name="T8" fmla="*/ 4 w 4"/>
                  <a:gd name="T9" fmla="*/ 26 h 26"/>
                  <a:gd name="T10" fmla="*/ 2 w 4"/>
                  <a:gd name="T11" fmla="*/ 0 h 26"/>
                </a:gdLst>
                <a:ahLst/>
                <a:cxnLst>
                  <a:cxn ang="0">
                    <a:pos x="T0" y="T1"/>
                  </a:cxn>
                  <a:cxn ang="0">
                    <a:pos x="T2" y="T3"/>
                  </a:cxn>
                  <a:cxn ang="0">
                    <a:pos x="T4" y="T5"/>
                  </a:cxn>
                  <a:cxn ang="0">
                    <a:pos x="T6" y="T7"/>
                  </a:cxn>
                  <a:cxn ang="0">
                    <a:pos x="T8" y="T9"/>
                  </a:cxn>
                  <a:cxn ang="0">
                    <a:pos x="T10" y="T11"/>
                  </a:cxn>
                </a:cxnLst>
                <a:rect l="0" t="0" r="r" b="b"/>
                <a:pathLst>
                  <a:path w="4" h="26">
                    <a:moveTo>
                      <a:pt x="2" y="0"/>
                    </a:moveTo>
                    <a:lnTo>
                      <a:pt x="0" y="2"/>
                    </a:lnTo>
                    <a:lnTo>
                      <a:pt x="0" y="2"/>
                    </a:lnTo>
                    <a:lnTo>
                      <a:pt x="4" y="26"/>
                    </a:lnTo>
                    <a:lnTo>
                      <a:pt x="4" y="26"/>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69" name="Freeform 272"/>
              <p:cNvSpPr/>
              <p:nvPr>
                <p:custDataLst>
                  <p:tags r:id="rId114"/>
                </p:custDataLst>
              </p:nvPr>
            </p:nvSpPr>
            <p:spPr bwMode="auto">
              <a:xfrm>
                <a:off x="3914969" y="3933128"/>
                <a:ext cx="2124"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0" name="Freeform 273"/>
              <p:cNvSpPr/>
              <p:nvPr>
                <p:custDataLst>
                  <p:tags r:id="rId115"/>
                </p:custDataLst>
              </p:nvPr>
            </p:nvSpPr>
            <p:spPr bwMode="auto">
              <a:xfrm>
                <a:off x="3948954" y="3807808"/>
                <a:ext cx="25489" cy="16992"/>
              </a:xfrm>
              <a:custGeom>
                <a:avLst/>
                <a:gdLst>
                  <a:gd name="T0" fmla="*/ 4 w 24"/>
                  <a:gd name="T1" fmla="*/ 0 h 16"/>
                  <a:gd name="T2" fmla="*/ 0 w 24"/>
                  <a:gd name="T3" fmla="*/ 4 h 16"/>
                  <a:gd name="T4" fmla="*/ 22 w 24"/>
                  <a:gd name="T5" fmla="*/ 16 h 16"/>
                  <a:gd name="T6" fmla="*/ 22 w 24"/>
                  <a:gd name="T7" fmla="*/ 16 h 16"/>
                  <a:gd name="T8" fmla="*/ 24 w 24"/>
                  <a:gd name="T9" fmla="*/ 8 h 16"/>
                  <a:gd name="T10" fmla="*/ 4 w 24"/>
                  <a:gd name="T11" fmla="*/ 0 h 16"/>
                </a:gdLst>
                <a:ahLst/>
                <a:cxnLst>
                  <a:cxn ang="0">
                    <a:pos x="T0" y="T1"/>
                  </a:cxn>
                  <a:cxn ang="0">
                    <a:pos x="T2" y="T3"/>
                  </a:cxn>
                  <a:cxn ang="0">
                    <a:pos x="T4" y="T5"/>
                  </a:cxn>
                  <a:cxn ang="0">
                    <a:pos x="T6" y="T7"/>
                  </a:cxn>
                  <a:cxn ang="0">
                    <a:pos x="T8" y="T9"/>
                  </a:cxn>
                  <a:cxn ang="0">
                    <a:pos x="T10" y="T11"/>
                  </a:cxn>
                </a:cxnLst>
                <a:rect l="0" t="0" r="r" b="b"/>
                <a:pathLst>
                  <a:path w="24" h="16">
                    <a:moveTo>
                      <a:pt x="4" y="0"/>
                    </a:moveTo>
                    <a:lnTo>
                      <a:pt x="0" y="4"/>
                    </a:lnTo>
                    <a:lnTo>
                      <a:pt x="22" y="16"/>
                    </a:lnTo>
                    <a:lnTo>
                      <a:pt x="22" y="16"/>
                    </a:lnTo>
                    <a:lnTo>
                      <a:pt x="24"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1" name="Freeform 277"/>
              <p:cNvSpPr/>
              <p:nvPr>
                <p:custDataLst>
                  <p:tags r:id="rId116"/>
                </p:custDataLst>
              </p:nvPr>
            </p:nvSpPr>
            <p:spPr bwMode="auto">
              <a:xfrm>
                <a:off x="4063654" y="3540176"/>
                <a:ext cx="6372" cy="8497"/>
              </a:xfrm>
              <a:custGeom>
                <a:avLst/>
                <a:gdLst>
                  <a:gd name="T0" fmla="*/ 6 w 6"/>
                  <a:gd name="T1" fmla="*/ 0 h 8"/>
                  <a:gd name="T2" fmla="*/ 0 w 6"/>
                  <a:gd name="T3" fmla="*/ 8 h 8"/>
                  <a:gd name="T4" fmla="*/ 4 w 6"/>
                  <a:gd name="T5" fmla="*/ 8 h 8"/>
                  <a:gd name="T6" fmla="*/ 4 w 6"/>
                  <a:gd name="T7" fmla="*/ 8 h 8"/>
                  <a:gd name="T8" fmla="*/ 6 w 6"/>
                  <a:gd name="T9" fmla="*/ 0 h 8"/>
                </a:gdLst>
                <a:ahLst/>
                <a:cxnLst>
                  <a:cxn ang="0">
                    <a:pos x="T0" y="T1"/>
                  </a:cxn>
                  <a:cxn ang="0">
                    <a:pos x="T2" y="T3"/>
                  </a:cxn>
                  <a:cxn ang="0">
                    <a:pos x="T4" y="T5"/>
                  </a:cxn>
                  <a:cxn ang="0">
                    <a:pos x="T6" y="T7"/>
                  </a:cxn>
                  <a:cxn ang="0">
                    <a:pos x="T8" y="T9"/>
                  </a:cxn>
                </a:cxnLst>
                <a:rect l="0" t="0" r="r" b="b"/>
                <a:pathLst>
                  <a:path w="6" h="8">
                    <a:moveTo>
                      <a:pt x="6" y="0"/>
                    </a:moveTo>
                    <a:lnTo>
                      <a:pt x="0" y="8"/>
                    </a:lnTo>
                    <a:lnTo>
                      <a:pt x="4" y="8"/>
                    </a:lnTo>
                    <a:lnTo>
                      <a:pt x="4" y="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2" name="Freeform 279"/>
              <p:cNvSpPr/>
              <p:nvPr>
                <p:custDataLst>
                  <p:tags r:id="rId117"/>
                </p:custDataLst>
              </p:nvPr>
            </p:nvSpPr>
            <p:spPr bwMode="auto">
              <a:xfrm>
                <a:off x="3938333" y="3346885"/>
                <a:ext cx="135941" cy="191166"/>
              </a:xfrm>
              <a:custGeom>
                <a:avLst/>
                <a:gdLst>
                  <a:gd name="T0" fmla="*/ 52 w 128"/>
                  <a:gd name="T1" fmla="*/ 0 h 180"/>
                  <a:gd name="T2" fmla="*/ 0 w 128"/>
                  <a:gd name="T3" fmla="*/ 84 h 180"/>
                  <a:gd name="T4" fmla="*/ 0 w 128"/>
                  <a:gd name="T5" fmla="*/ 84 h 180"/>
                  <a:gd name="T6" fmla="*/ 10 w 128"/>
                  <a:gd name="T7" fmla="*/ 102 h 180"/>
                  <a:gd name="T8" fmla="*/ 16 w 128"/>
                  <a:gd name="T9" fmla="*/ 120 h 180"/>
                  <a:gd name="T10" fmla="*/ 18 w 128"/>
                  <a:gd name="T11" fmla="*/ 140 h 180"/>
                  <a:gd name="T12" fmla="*/ 14 w 128"/>
                  <a:gd name="T13" fmla="*/ 162 h 180"/>
                  <a:gd name="T14" fmla="*/ 80 w 128"/>
                  <a:gd name="T15" fmla="*/ 180 h 180"/>
                  <a:gd name="T16" fmla="*/ 126 w 128"/>
                  <a:gd name="T17" fmla="*/ 126 h 180"/>
                  <a:gd name="T18" fmla="*/ 126 w 128"/>
                  <a:gd name="T19" fmla="*/ 126 h 180"/>
                  <a:gd name="T20" fmla="*/ 124 w 128"/>
                  <a:gd name="T21" fmla="*/ 114 h 180"/>
                  <a:gd name="T22" fmla="*/ 124 w 128"/>
                  <a:gd name="T23" fmla="*/ 114 h 180"/>
                  <a:gd name="T24" fmla="*/ 126 w 128"/>
                  <a:gd name="T25" fmla="*/ 124 h 180"/>
                  <a:gd name="T26" fmla="*/ 128 w 128"/>
                  <a:gd name="T27" fmla="*/ 122 h 180"/>
                  <a:gd name="T28" fmla="*/ 128 w 128"/>
                  <a:gd name="T29" fmla="*/ 122 h 180"/>
                  <a:gd name="T30" fmla="*/ 124 w 128"/>
                  <a:gd name="T31" fmla="*/ 98 h 180"/>
                  <a:gd name="T32" fmla="*/ 114 w 128"/>
                  <a:gd name="T33" fmla="*/ 74 h 180"/>
                  <a:gd name="T34" fmla="*/ 114 w 128"/>
                  <a:gd name="T35" fmla="*/ 74 h 180"/>
                  <a:gd name="T36" fmla="*/ 104 w 128"/>
                  <a:gd name="T37" fmla="*/ 54 h 180"/>
                  <a:gd name="T38" fmla="*/ 90 w 128"/>
                  <a:gd name="T39" fmla="*/ 34 h 180"/>
                  <a:gd name="T40" fmla="*/ 72 w 128"/>
                  <a:gd name="T41" fmla="*/ 16 h 180"/>
                  <a:gd name="T42" fmla="*/ 52 w 128"/>
                  <a:gd name="T43"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180">
                    <a:moveTo>
                      <a:pt x="52" y="0"/>
                    </a:moveTo>
                    <a:lnTo>
                      <a:pt x="0" y="84"/>
                    </a:lnTo>
                    <a:lnTo>
                      <a:pt x="0" y="84"/>
                    </a:lnTo>
                    <a:lnTo>
                      <a:pt x="10" y="102"/>
                    </a:lnTo>
                    <a:lnTo>
                      <a:pt x="16" y="120"/>
                    </a:lnTo>
                    <a:lnTo>
                      <a:pt x="18" y="140"/>
                    </a:lnTo>
                    <a:lnTo>
                      <a:pt x="14" y="162"/>
                    </a:lnTo>
                    <a:lnTo>
                      <a:pt x="80" y="180"/>
                    </a:lnTo>
                    <a:lnTo>
                      <a:pt x="126" y="126"/>
                    </a:lnTo>
                    <a:lnTo>
                      <a:pt x="126" y="126"/>
                    </a:lnTo>
                    <a:lnTo>
                      <a:pt x="124" y="114"/>
                    </a:lnTo>
                    <a:lnTo>
                      <a:pt x="124" y="114"/>
                    </a:lnTo>
                    <a:lnTo>
                      <a:pt x="126" y="124"/>
                    </a:lnTo>
                    <a:lnTo>
                      <a:pt x="128" y="122"/>
                    </a:lnTo>
                    <a:lnTo>
                      <a:pt x="128" y="122"/>
                    </a:lnTo>
                    <a:lnTo>
                      <a:pt x="124" y="98"/>
                    </a:lnTo>
                    <a:lnTo>
                      <a:pt x="114" y="74"/>
                    </a:lnTo>
                    <a:lnTo>
                      <a:pt x="114" y="74"/>
                    </a:lnTo>
                    <a:lnTo>
                      <a:pt x="104" y="54"/>
                    </a:lnTo>
                    <a:lnTo>
                      <a:pt x="90" y="34"/>
                    </a:lnTo>
                    <a:lnTo>
                      <a:pt x="72" y="16"/>
                    </a:lnTo>
                    <a:lnTo>
                      <a:pt x="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3" name="Freeform 283"/>
              <p:cNvSpPr/>
              <p:nvPr>
                <p:custDataLst>
                  <p:tags r:id="rId118"/>
                </p:custDataLst>
              </p:nvPr>
            </p:nvSpPr>
            <p:spPr bwMode="auto">
              <a:xfrm>
                <a:off x="3974443" y="3773824"/>
                <a:ext cx="6372" cy="42481"/>
              </a:xfrm>
              <a:custGeom>
                <a:avLst/>
                <a:gdLst>
                  <a:gd name="T0" fmla="*/ 4 w 6"/>
                  <a:gd name="T1" fmla="*/ 0 h 40"/>
                  <a:gd name="T2" fmla="*/ 4 w 6"/>
                  <a:gd name="T3" fmla="*/ 0 h 40"/>
                  <a:gd name="T4" fmla="*/ 4 w 6"/>
                  <a:gd name="T5" fmla="*/ 0 h 40"/>
                  <a:gd name="T6" fmla="*/ 4 w 6"/>
                  <a:gd name="T7" fmla="*/ 20 h 40"/>
                  <a:gd name="T8" fmla="*/ 0 w 6"/>
                  <a:gd name="T9" fmla="*/ 40 h 40"/>
                  <a:gd name="T10" fmla="*/ 2 w 6"/>
                  <a:gd name="T11" fmla="*/ 40 h 40"/>
                  <a:gd name="T12" fmla="*/ 2 w 6"/>
                  <a:gd name="T13" fmla="*/ 40 h 40"/>
                  <a:gd name="T14" fmla="*/ 6 w 6"/>
                  <a:gd name="T15" fmla="*/ 16 h 40"/>
                  <a:gd name="T16" fmla="*/ 6 w 6"/>
                  <a:gd name="T17" fmla="*/ 16 h 40"/>
                  <a:gd name="T18" fmla="*/ 4 w 6"/>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0">
                    <a:moveTo>
                      <a:pt x="4" y="0"/>
                    </a:moveTo>
                    <a:lnTo>
                      <a:pt x="4" y="0"/>
                    </a:lnTo>
                    <a:lnTo>
                      <a:pt x="4" y="0"/>
                    </a:lnTo>
                    <a:lnTo>
                      <a:pt x="4" y="20"/>
                    </a:lnTo>
                    <a:lnTo>
                      <a:pt x="0" y="40"/>
                    </a:lnTo>
                    <a:lnTo>
                      <a:pt x="2" y="40"/>
                    </a:lnTo>
                    <a:lnTo>
                      <a:pt x="2" y="40"/>
                    </a:lnTo>
                    <a:lnTo>
                      <a:pt x="6" y="16"/>
                    </a:lnTo>
                    <a:lnTo>
                      <a:pt x="6" y="1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4" name="Freeform 284"/>
              <p:cNvSpPr/>
              <p:nvPr>
                <p:custDataLst>
                  <p:tags r:id="rId119"/>
                </p:custDataLst>
              </p:nvPr>
            </p:nvSpPr>
            <p:spPr bwMode="auto">
              <a:xfrm>
                <a:off x="4070026" y="3478578"/>
                <a:ext cx="6372" cy="61598"/>
              </a:xfrm>
              <a:custGeom>
                <a:avLst/>
                <a:gdLst>
                  <a:gd name="T0" fmla="*/ 2 w 6"/>
                  <a:gd name="T1" fmla="*/ 0 h 58"/>
                  <a:gd name="T2" fmla="*/ 2 w 6"/>
                  <a:gd name="T3" fmla="*/ 2 h 58"/>
                  <a:gd name="T4" fmla="*/ 2 w 6"/>
                  <a:gd name="T5" fmla="*/ 2 h 58"/>
                  <a:gd name="T6" fmla="*/ 2 w 6"/>
                  <a:gd name="T7" fmla="*/ 30 h 58"/>
                  <a:gd name="T8" fmla="*/ 0 w 6"/>
                  <a:gd name="T9" fmla="*/ 58 h 58"/>
                  <a:gd name="T10" fmla="*/ 2 w 6"/>
                  <a:gd name="T11" fmla="*/ 56 h 58"/>
                  <a:gd name="T12" fmla="*/ 2 w 6"/>
                  <a:gd name="T13" fmla="*/ 56 h 58"/>
                  <a:gd name="T14" fmla="*/ 6 w 6"/>
                  <a:gd name="T15" fmla="*/ 24 h 58"/>
                  <a:gd name="T16" fmla="*/ 6 w 6"/>
                  <a:gd name="T17" fmla="*/ 24 h 58"/>
                  <a:gd name="T18" fmla="*/ 2 w 6"/>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8">
                    <a:moveTo>
                      <a:pt x="2" y="0"/>
                    </a:moveTo>
                    <a:lnTo>
                      <a:pt x="2" y="2"/>
                    </a:lnTo>
                    <a:lnTo>
                      <a:pt x="2" y="2"/>
                    </a:lnTo>
                    <a:lnTo>
                      <a:pt x="2" y="30"/>
                    </a:lnTo>
                    <a:lnTo>
                      <a:pt x="0" y="58"/>
                    </a:lnTo>
                    <a:lnTo>
                      <a:pt x="2" y="56"/>
                    </a:lnTo>
                    <a:lnTo>
                      <a:pt x="2" y="56"/>
                    </a:lnTo>
                    <a:lnTo>
                      <a:pt x="6" y="24"/>
                    </a:lnTo>
                    <a:lnTo>
                      <a:pt x="6" y="2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5" name="Freeform 285"/>
              <p:cNvSpPr/>
              <p:nvPr>
                <p:custDataLst>
                  <p:tags r:id="rId120"/>
                </p:custDataLst>
              </p:nvPr>
            </p:nvSpPr>
            <p:spPr bwMode="auto">
              <a:xfrm>
                <a:off x="3904349" y="3431848"/>
                <a:ext cx="25489" cy="57350"/>
              </a:xfrm>
              <a:custGeom>
                <a:avLst/>
                <a:gdLst>
                  <a:gd name="T0" fmla="*/ 22 w 24"/>
                  <a:gd name="T1" fmla="*/ 0 h 54"/>
                  <a:gd name="T2" fmla="*/ 0 w 24"/>
                  <a:gd name="T3" fmla="*/ 54 h 54"/>
                  <a:gd name="T4" fmla="*/ 2 w 24"/>
                  <a:gd name="T5" fmla="*/ 50 h 54"/>
                  <a:gd name="T6" fmla="*/ 24 w 24"/>
                  <a:gd name="T7" fmla="*/ 0 h 54"/>
                  <a:gd name="T8" fmla="*/ 24 w 24"/>
                  <a:gd name="T9" fmla="*/ 0 h 54"/>
                  <a:gd name="T10" fmla="*/ 22 w 24"/>
                  <a:gd name="T11" fmla="*/ 0 h 54"/>
                </a:gdLst>
                <a:ahLst/>
                <a:cxnLst>
                  <a:cxn ang="0">
                    <a:pos x="T0" y="T1"/>
                  </a:cxn>
                  <a:cxn ang="0">
                    <a:pos x="T2" y="T3"/>
                  </a:cxn>
                  <a:cxn ang="0">
                    <a:pos x="T4" y="T5"/>
                  </a:cxn>
                  <a:cxn ang="0">
                    <a:pos x="T6" y="T7"/>
                  </a:cxn>
                  <a:cxn ang="0">
                    <a:pos x="T8" y="T9"/>
                  </a:cxn>
                  <a:cxn ang="0">
                    <a:pos x="T10" y="T11"/>
                  </a:cxn>
                </a:cxnLst>
                <a:rect l="0" t="0" r="r" b="b"/>
                <a:pathLst>
                  <a:path w="24" h="54">
                    <a:moveTo>
                      <a:pt x="22" y="0"/>
                    </a:moveTo>
                    <a:lnTo>
                      <a:pt x="0" y="54"/>
                    </a:lnTo>
                    <a:lnTo>
                      <a:pt x="2" y="50"/>
                    </a:lnTo>
                    <a:lnTo>
                      <a:pt x="24" y="0"/>
                    </a:lnTo>
                    <a:lnTo>
                      <a:pt x="24" y="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6" name="Freeform 286"/>
              <p:cNvSpPr/>
              <p:nvPr>
                <p:custDataLst>
                  <p:tags r:id="rId121"/>
                </p:custDataLst>
              </p:nvPr>
            </p:nvSpPr>
            <p:spPr bwMode="auto">
              <a:xfrm>
                <a:off x="3968071" y="3304404"/>
                <a:ext cx="12744" cy="36109"/>
              </a:xfrm>
              <a:custGeom>
                <a:avLst/>
                <a:gdLst>
                  <a:gd name="T0" fmla="*/ 12 w 12"/>
                  <a:gd name="T1" fmla="*/ 0 h 34"/>
                  <a:gd name="T2" fmla="*/ 0 w 12"/>
                  <a:gd name="T3" fmla="*/ 30 h 34"/>
                  <a:gd name="T4" fmla="*/ 0 w 12"/>
                  <a:gd name="T5" fmla="*/ 30 h 34"/>
                  <a:gd name="T6" fmla="*/ 6 w 12"/>
                  <a:gd name="T7" fmla="*/ 34 h 34"/>
                  <a:gd name="T8" fmla="*/ 8 w 12"/>
                  <a:gd name="T9" fmla="*/ 30 h 34"/>
                  <a:gd name="T10" fmla="*/ 8 w 12"/>
                  <a:gd name="T11" fmla="*/ 30 h 34"/>
                  <a:gd name="T12" fmla="*/ 2 w 12"/>
                  <a:gd name="T13" fmla="*/ 26 h 34"/>
                  <a:gd name="T14" fmla="*/ 12 w 12"/>
                  <a:gd name="T15" fmla="*/ 0 h 34"/>
                  <a:gd name="T16" fmla="*/ 12 w 12"/>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4">
                    <a:moveTo>
                      <a:pt x="12" y="0"/>
                    </a:moveTo>
                    <a:lnTo>
                      <a:pt x="0" y="30"/>
                    </a:lnTo>
                    <a:lnTo>
                      <a:pt x="0" y="30"/>
                    </a:lnTo>
                    <a:lnTo>
                      <a:pt x="6" y="34"/>
                    </a:lnTo>
                    <a:lnTo>
                      <a:pt x="8" y="30"/>
                    </a:lnTo>
                    <a:lnTo>
                      <a:pt x="8" y="30"/>
                    </a:lnTo>
                    <a:lnTo>
                      <a:pt x="2" y="26"/>
                    </a:lnTo>
                    <a:lnTo>
                      <a:pt x="12" y="0"/>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7" name="Freeform 287"/>
              <p:cNvSpPr/>
              <p:nvPr>
                <p:custDataLst>
                  <p:tags r:id="rId122"/>
                </p:custDataLst>
              </p:nvPr>
            </p:nvSpPr>
            <p:spPr bwMode="auto">
              <a:xfrm>
                <a:off x="3972319" y="3816305"/>
                <a:ext cx="4248" cy="8497"/>
              </a:xfrm>
              <a:custGeom>
                <a:avLst/>
                <a:gdLst>
                  <a:gd name="T0" fmla="*/ 2 w 4"/>
                  <a:gd name="T1" fmla="*/ 0 h 8"/>
                  <a:gd name="T2" fmla="*/ 2 w 4"/>
                  <a:gd name="T3" fmla="*/ 0 h 8"/>
                  <a:gd name="T4" fmla="*/ 0 w 4"/>
                  <a:gd name="T5" fmla="*/ 8 h 8"/>
                  <a:gd name="T6" fmla="*/ 2 w 4"/>
                  <a:gd name="T7" fmla="*/ 8 h 8"/>
                  <a:gd name="T8" fmla="*/ 2 w 4"/>
                  <a:gd name="T9" fmla="*/ 8 h 8"/>
                  <a:gd name="T10" fmla="*/ 4 w 4"/>
                  <a:gd name="T11" fmla="*/ 0 h 8"/>
                  <a:gd name="T12" fmla="*/ 2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0"/>
                    </a:moveTo>
                    <a:lnTo>
                      <a:pt x="2" y="0"/>
                    </a:lnTo>
                    <a:lnTo>
                      <a:pt x="0" y="8"/>
                    </a:lnTo>
                    <a:lnTo>
                      <a:pt x="2" y="8"/>
                    </a:lnTo>
                    <a:lnTo>
                      <a:pt x="2" y="8"/>
                    </a:lnTo>
                    <a:lnTo>
                      <a:pt x="4"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8" name="Freeform 288"/>
              <p:cNvSpPr/>
              <p:nvPr>
                <p:custDataLst>
                  <p:tags r:id="rId123"/>
                </p:custDataLst>
              </p:nvPr>
            </p:nvSpPr>
            <p:spPr bwMode="auto">
              <a:xfrm>
                <a:off x="3972319" y="3816305"/>
                <a:ext cx="4248" cy="8497"/>
              </a:xfrm>
              <a:custGeom>
                <a:avLst/>
                <a:gdLst>
                  <a:gd name="T0" fmla="*/ 2 w 4"/>
                  <a:gd name="T1" fmla="*/ 0 h 8"/>
                  <a:gd name="T2" fmla="*/ 2 w 4"/>
                  <a:gd name="T3" fmla="*/ 0 h 8"/>
                  <a:gd name="T4" fmla="*/ 0 w 4"/>
                  <a:gd name="T5" fmla="*/ 8 h 8"/>
                  <a:gd name="T6" fmla="*/ 2 w 4"/>
                  <a:gd name="T7" fmla="*/ 8 h 8"/>
                  <a:gd name="T8" fmla="*/ 2 w 4"/>
                  <a:gd name="T9" fmla="*/ 8 h 8"/>
                  <a:gd name="T10" fmla="*/ 4 w 4"/>
                  <a:gd name="T11" fmla="*/ 0 h 8"/>
                  <a:gd name="T12" fmla="*/ 2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0"/>
                    </a:moveTo>
                    <a:lnTo>
                      <a:pt x="2" y="0"/>
                    </a:lnTo>
                    <a:lnTo>
                      <a:pt x="0" y="8"/>
                    </a:lnTo>
                    <a:lnTo>
                      <a:pt x="2" y="8"/>
                    </a:lnTo>
                    <a:lnTo>
                      <a:pt x="2" y="8"/>
                    </a:lnTo>
                    <a:lnTo>
                      <a:pt x="4"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79" name="Freeform 289"/>
              <p:cNvSpPr/>
              <p:nvPr>
                <p:custDataLst>
                  <p:tags r:id="rId124"/>
                </p:custDataLst>
              </p:nvPr>
            </p:nvSpPr>
            <p:spPr bwMode="auto">
              <a:xfrm>
                <a:off x="3738672" y="3858786"/>
                <a:ext cx="14869" cy="33985"/>
              </a:xfrm>
              <a:custGeom>
                <a:avLst/>
                <a:gdLst>
                  <a:gd name="T0" fmla="*/ 14 w 14"/>
                  <a:gd name="T1" fmla="*/ 0 h 32"/>
                  <a:gd name="T2" fmla="*/ 12 w 14"/>
                  <a:gd name="T3" fmla="*/ 4 h 32"/>
                  <a:gd name="T4" fmla="*/ 0 w 14"/>
                  <a:gd name="T5" fmla="*/ 30 h 32"/>
                  <a:gd name="T6" fmla="*/ 0 w 14"/>
                  <a:gd name="T7" fmla="*/ 30 h 32"/>
                  <a:gd name="T8" fmla="*/ 8 w 14"/>
                  <a:gd name="T9" fmla="*/ 32 h 32"/>
                  <a:gd name="T10" fmla="*/ 10 w 14"/>
                  <a:gd name="T11" fmla="*/ 28 h 32"/>
                  <a:gd name="T12" fmla="*/ 10 w 14"/>
                  <a:gd name="T13" fmla="*/ 28 h 32"/>
                  <a:gd name="T14" fmla="*/ 4 w 14"/>
                  <a:gd name="T15" fmla="*/ 28 h 32"/>
                  <a:gd name="T16" fmla="*/ 14 w 14"/>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2">
                    <a:moveTo>
                      <a:pt x="14" y="0"/>
                    </a:moveTo>
                    <a:lnTo>
                      <a:pt x="12" y="4"/>
                    </a:lnTo>
                    <a:lnTo>
                      <a:pt x="0" y="30"/>
                    </a:lnTo>
                    <a:lnTo>
                      <a:pt x="0" y="30"/>
                    </a:lnTo>
                    <a:lnTo>
                      <a:pt x="8" y="32"/>
                    </a:lnTo>
                    <a:lnTo>
                      <a:pt x="10" y="28"/>
                    </a:lnTo>
                    <a:lnTo>
                      <a:pt x="10" y="28"/>
                    </a:lnTo>
                    <a:lnTo>
                      <a:pt x="4" y="28"/>
                    </a:lnTo>
                    <a:lnTo>
                      <a:pt x="14" y="0"/>
                    </a:lnTo>
                    <a:close/>
                  </a:path>
                </a:pathLst>
              </a:custGeom>
              <a:solidFill>
                <a:srgbClr val="FFFF02"/>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80" name="Freeform 290"/>
              <p:cNvSpPr/>
              <p:nvPr>
                <p:custDataLst>
                  <p:tags r:id="rId125"/>
                </p:custDataLst>
              </p:nvPr>
            </p:nvSpPr>
            <p:spPr bwMode="auto">
              <a:xfrm>
                <a:off x="3738672" y="3858786"/>
                <a:ext cx="14869" cy="33985"/>
              </a:xfrm>
              <a:custGeom>
                <a:avLst/>
                <a:gdLst>
                  <a:gd name="T0" fmla="*/ 14 w 14"/>
                  <a:gd name="T1" fmla="*/ 0 h 32"/>
                  <a:gd name="T2" fmla="*/ 12 w 14"/>
                  <a:gd name="T3" fmla="*/ 4 h 32"/>
                  <a:gd name="T4" fmla="*/ 0 w 14"/>
                  <a:gd name="T5" fmla="*/ 30 h 32"/>
                  <a:gd name="T6" fmla="*/ 0 w 14"/>
                  <a:gd name="T7" fmla="*/ 30 h 32"/>
                  <a:gd name="T8" fmla="*/ 8 w 14"/>
                  <a:gd name="T9" fmla="*/ 32 h 32"/>
                  <a:gd name="T10" fmla="*/ 10 w 14"/>
                  <a:gd name="T11" fmla="*/ 28 h 32"/>
                  <a:gd name="T12" fmla="*/ 10 w 14"/>
                  <a:gd name="T13" fmla="*/ 28 h 32"/>
                  <a:gd name="T14" fmla="*/ 4 w 14"/>
                  <a:gd name="T15" fmla="*/ 28 h 32"/>
                  <a:gd name="T16" fmla="*/ 14 w 14"/>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2">
                    <a:moveTo>
                      <a:pt x="14" y="0"/>
                    </a:moveTo>
                    <a:lnTo>
                      <a:pt x="12" y="4"/>
                    </a:lnTo>
                    <a:lnTo>
                      <a:pt x="0" y="30"/>
                    </a:lnTo>
                    <a:lnTo>
                      <a:pt x="0" y="30"/>
                    </a:lnTo>
                    <a:lnTo>
                      <a:pt x="8" y="32"/>
                    </a:lnTo>
                    <a:lnTo>
                      <a:pt x="10" y="28"/>
                    </a:lnTo>
                    <a:lnTo>
                      <a:pt x="10" y="28"/>
                    </a:lnTo>
                    <a:lnTo>
                      <a:pt x="4" y="2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81" name="Freeform 292"/>
              <p:cNvSpPr/>
              <p:nvPr>
                <p:custDataLst>
                  <p:tags r:id="rId126"/>
                </p:custDataLst>
              </p:nvPr>
            </p:nvSpPr>
            <p:spPr bwMode="auto">
              <a:xfrm>
                <a:off x="3668577" y="3986230"/>
                <a:ext cx="31861" cy="78591"/>
              </a:xfrm>
              <a:custGeom>
                <a:avLst/>
                <a:gdLst>
                  <a:gd name="T0" fmla="*/ 30 w 30"/>
                  <a:gd name="T1" fmla="*/ 0 h 74"/>
                  <a:gd name="T2" fmla="*/ 0 w 30"/>
                  <a:gd name="T3" fmla="*/ 74 h 74"/>
                  <a:gd name="T4" fmla="*/ 0 w 30"/>
                  <a:gd name="T5" fmla="*/ 74 h 74"/>
                  <a:gd name="T6" fmla="*/ 30 w 30"/>
                  <a:gd name="T7" fmla="*/ 2 h 74"/>
                  <a:gd name="T8" fmla="*/ 30 w 30"/>
                  <a:gd name="T9" fmla="*/ 2 h 74"/>
                  <a:gd name="T10" fmla="*/ 30 w 30"/>
                  <a:gd name="T11" fmla="*/ 0 h 74"/>
                </a:gdLst>
                <a:ahLst/>
                <a:cxnLst>
                  <a:cxn ang="0">
                    <a:pos x="T0" y="T1"/>
                  </a:cxn>
                  <a:cxn ang="0">
                    <a:pos x="T2" y="T3"/>
                  </a:cxn>
                  <a:cxn ang="0">
                    <a:pos x="T4" y="T5"/>
                  </a:cxn>
                  <a:cxn ang="0">
                    <a:pos x="T6" y="T7"/>
                  </a:cxn>
                  <a:cxn ang="0">
                    <a:pos x="T8" y="T9"/>
                  </a:cxn>
                  <a:cxn ang="0">
                    <a:pos x="T10" y="T11"/>
                  </a:cxn>
                </a:cxnLst>
                <a:rect l="0" t="0" r="r" b="b"/>
                <a:pathLst>
                  <a:path w="30" h="74">
                    <a:moveTo>
                      <a:pt x="30" y="0"/>
                    </a:moveTo>
                    <a:lnTo>
                      <a:pt x="0" y="74"/>
                    </a:lnTo>
                    <a:lnTo>
                      <a:pt x="0" y="74"/>
                    </a:lnTo>
                    <a:lnTo>
                      <a:pt x="30" y="2"/>
                    </a:lnTo>
                    <a:lnTo>
                      <a:pt x="30" y="2"/>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82" name="Freeform 293"/>
              <p:cNvSpPr/>
              <p:nvPr>
                <p:custDataLst>
                  <p:tags r:id="rId127"/>
                </p:custDataLst>
              </p:nvPr>
            </p:nvSpPr>
            <p:spPr bwMode="auto">
              <a:xfrm>
                <a:off x="3976566" y="3763203"/>
                <a:ext cx="2124" cy="10620"/>
              </a:xfrm>
              <a:custGeom>
                <a:avLst/>
                <a:gdLst>
                  <a:gd name="T0" fmla="*/ 0 w 2"/>
                  <a:gd name="T1" fmla="*/ 0 h 10"/>
                  <a:gd name="T2" fmla="*/ 0 w 2"/>
                  <a:gd name="T3" fmla="*/ 0 h 10"/>
                  <a:gd name="T4" fmla="*/ 2 w 2"/>
                  <a:gd name="T5" fmla="*/ 10 h 10"/>
                  <a:gd name="T6" fmla="*/ 2 w 2"/>
                  <a:gd name="T7" fmla="*/ 10 h 10"/>
                  <a:gd name="T8" fmla="*/ 2 w 2"/>
                  <a:gd name="T9" fmla="*/ 10 h 10"/>
                  <a:gd name="T10" fmla="*/ 0 w 2"/>
                  <a:gd name="T11" fmla="*/ 0 h 10"/>
                </a:gdLst>
                <a:ahLst/>
                <a:cxnLst>
                  <a:cxn ang="0">
                    <a:pos x="T0" y="T1"/>
                  </a:cxn>
                  <a:cxn ang="0">
                    <a:pos x="T2" y="T3"/>
                  </a:cxn>
                  <a:cxn ang="0">
                    <a:pos x="T4" y="T5"/>
                  </a:cxn>
                  <a:cxn ang="0">
                    <a:pos x="T6" y="T7"/>
                  </a:cxn>
                  <a:cxn ang="0">
                    <a:pos x="T8" y="T9"/>
                  </a:cxn>
                  <a:cxn ang="0">
                    <a:pos x="T10" y="T11"/>
                  </a:cxn>
                </a:cxnLst>
                <a:rect l="0" t="0" r="r" b="b"/>
                <a:pathLst>
                  <a:path w="2" h="10">
                    <a:moveTo>
                      <a:pt x="0" y="0"/>
                    </a:moveTo>
                    <a:lnTo>
                      <a:pt x="0" y="0"/>
                    </a:lnTo>
                    <a:lnTo>
                      <a:pt x="2" y="10"/>
                    </a:lnTo>
                    <a:lnTo>
                      <a:pt x="2" y="10"/>
                    </a:lnTo>
                    <a:lnTo>
                      <a:pt x="2" y="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83" name="Freeform 294"/>
              <p:cNvSpPr/>
              <p:nvPr>
                <p:custDataLst>
                  <p:tags r:id="rId128"/>
                </p:custDataLst>
              </p:nvPr>
            </p:nvSpPr>
            <p:spPr bwMode="auto">
              <a:xfrm>
                <a:off x="3647336" y="3748334"/>
                <a:ext cx="4248" cy="53102"/>
              </a:xfrm>
              <a:custGeom>
                <a:avLst/>
                <a:gdLst>
                  <a:gd name="T0" fmla="*/ 2 w 4"/>
                  <a:gd name="T1" fmla="*/ 0 h 50"/>
                  <a:gd name="T2" fmla="*/ 2 w 4"/>
                  <a:gd name="T3" fmla="*/ 0 h 50"/>
                  <a:gd name="T4" fmla="*/ 0 w 4"/>
                  <a:gd name="T5" fmla="*/ 26 h 50"/>
                  <a:gd name="T6" fmla="*/ 2 w 4"/>
                  <a:gd name="T7" fmla="*/ 38 h 50"/>
                  <a:gd name="T8" fmla="*/ 4 w 4"/>
                  <a:gd name="T9" fmla="*/ 50 h 50"/>
                  <a:gd name="T10" fmla="*/ 4 w 4"/>
                  <a:gd name="T11" fmla="*/ 50 h 50"/>
                  <a:gd name="T12" fmla="*/ 2 w 4"/>
                  <a:gd name="T13" fmla="*/ 26 h 50"/>
                  <a:gd name="T14" fmla="*/ 2 w 4"/>
                  <a:gd name="T15" fmla="*/ 26 h 50"/>
                  <a:gd name="T16" fmla="*/ 2 w 4"/>
                  <a:gd name="T17" fmla="*/ 14 h 50"/>
                  <a:gd name="T18" fmla="*/ 2 w 4"/>
                  <a:gd name="T19" fmla="*/ 0 h 50"/>
                  <a:gd name="T20" fmla="*/ 2 w 4"/>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0">
                    <a:moveTo>
                      <a:pt x="2" y="0"/>
                    </a:moveTo>
                    <a:lnTo>
                      <a:pt x="2" y="0"/>
                    </a:lnTo>
                    <a:lnTo>
                      <a:pt x="0" y="26"/>
                    </a:lnTo>
                    <a:lnTo>
                      <a:pt x="2" y="38"/>
                    </a:lnTo>
                    <a:lnTo>
                      <a:pt x="4" y="50"/>
                    </a:lnTo>
                    <a:lnTo>
                      <a:pt x="4" y="50"/>
                    </a:lnTo>
                    <a:lnTo>
                      <a:pt x="2" y="26"/>
                    </a:lnTo>
                    <a:lnTo>
                      <a:pt x="2" y="26"/>
                    </a:lnTo>
                    <a:lnTo>
                      <a:pt x="2" y="14"/>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84" name="Freeform 295"/>
              <p:cNvSpPr/>
              <p:nvPr>
                <p:custDataLst>
                  <p:tags r:id="rId129"/>
                </p:custDataLst>
              </p:nvPr>
            </p:nvSpPr>
            <p:spPr bwMode="auto">
              <a:xfrm>
                <a:off x="3751416" y="3722845"/>
                <a:ext cx="57350" cy="140188"/>
              </a:xfrm>
              <a:custGeom>
                <a:avLst/>
                <a:gdLst>
                  <a:gd name="T0" fmla="*/ 54 w 54"/>
                  <a:gd name="T1" fmla="*/ 0 h 132"/>
                  <a:gd name="T2" fmla="*/ 0 w 54"/>
                  <a:gd name="T3" fmla="*/ 132 h 132"/>
                  <a:gd name="T4" fmla="*/ 2 w 54"/>
                  <a:gd name="T5" fmla="*/ 128 h 132"/>
                  <a:gd name="T6" fmla="*/ 54 w 54"/>
                  <a:gd name="T7" fmla="*/ 0 h 132"/>
                  <a:gd name="T8" fmla="*/ 54 w 54"/>
                  <a:gd name="T9" fmla="*/ 0 h 132"/>
                  <a:gd name="T10" fmla="*/ 54 w 54"/>
                  <a:gd name="T11" fmla="*/ 0 h 132"/>
                </a:gdLst>
                <a:ahLst/>
                <a:cxnLst>
                  <a:cxn ang="0">
                    <a:pos x="T0" y="T1"/>
                  </a:cxn>
                  <a:cxn ang="0">
                    <a:pos x="T2" y="T3"/>
                  </a:cxn>
                  <a:cxn ang="0">
                    <a:pos x="T4" y="T5"/>
                  </a:cxn>
                  <a:cxn ang="0">
                    <a:pos x="T6" y="T7"/>
                  </a:cxn>
                  <a:cxn ang="0">
                    <a:pos x="T8" y="T9"/>
                  </a:cxn>
                  <a:cxn ang="0">
                    <a:pos x="T10" y="T11"/>
                  </a:cxn>
                </a:cxnLst>
                <a:rect l="0" t="0" r="r" b="b"/>
                <a:pathLst>
                  <a:path w="54" h="132">
                    <a:moveTo>
                      <a:pt x="54" y="0"/>
                    </a:moveTo>
                    <a:lnTo>
                      <a:pt x="0" y="132"/>
                    </a:lnTo>
                    <a:lnTo>
                      <a:pt x="2" y="128"/>
                    </a:lnTo>
                    <a:lnTo>
                      <a:pt x="54" y="0"/>
                    </a:lnTo>
                    <a:lnTo>
                      <a:pt x="54" y="0"/>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85" name="Freeform 296"/>
              <p:cNvSpPr/>
              <p:nvPr>
                <p:custDataLst>
                  <p:tags r:id="rId130"/>
                </p:custDataLst>
              </p:nvPr>
            </p:nvSpPr>
            <p:spPr bwMode="auto">
              <a:xfrm>
                <a:off x="4067902" y="3538051"/>
                <a:ext cx="4248" cy="12744"/>
              </a:xfrm>
              <a:custGeom>
                <a:avLst/>
                <a:gdLst>
                  <a:gd name="T0" fmla="*/ 4 w 4"/>
                  <a:gd name="T1" fmla="*/ 0 h 12"/>
                  <a:gd name="T2" fmla="*/ 2 w 4"/>
                  <a:gd name="T3" fmla="*/ 2 h 12"/>
                  <a:gd name="T4" fmla="*/ 2 w 4"/>
                  <a:gd name="T5" fmla="*/ 2 h 12"/>
                  <a:gd name="T6" fmla="*/ 0 w 4"/>
                  <a:gd name="T7" fmla="*/ 10 h 12"/>
                  <a:gd name="T8" fmla="*/ 2 w 4"/>
                  <a:gd name="T9" fmla="*/ 12 h 12"/>
                  <a:gd name="T10" fmla="*/ 2 w 4"/>
                  <a:gd name="T11" fmla="*/ 12 h 12"/>
                  <a:gd name="T12" fmla="*/ 4 w 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4" y="0"/>
                    </a:moveTo>
                    <a:lnTo>
                      <a:pt x="2" y="2"/>
                    </a:lnTo>
                    <a:lnTo>
                      <a:pt x="2" y="2"/>
                    </a:lnTo>
                    <a:lnTo>
                      <a:pt x="0" y="10"/>
                    </a:lnTo>
                    <a:lnTo>
                      <a:pt x="2" y="12"/>
                    </a:lnTo>
                    <a:lnTo>
                      <a:pt x="2" y="1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86" name="Freeform 297"/>
              <p:cNvSpPr/>
              <p:nvPr>
                <p:custDataLst>
                  <p:tags r:id="rId131"/>
                </p:custDataLst>
              </p:nvPr>
            </p:nvSpPr>
            <p:spPr bwMode="auto">
              <a:xfrm>
                <a:off x="3859743" y="3484950"/>
                <a:ext cx="46730" cy="121072"/>
              </a:xfrm>
              <a:custGeom>
                <a:avLst/>
                <a:gdLst>
                  <a:gd name="T0" fmla="*/ 44 w 44"/>
                  <a:gd name="T1" fmla="*/ 0 h 114"/>
                  <a:gd name="T2" fmla="*/ 42 w 44"/>
                  <a:gd name="T3" fmla="*/ 4 h 114"/>
                  <a:gd name="T4" fmla="*/ 0 w 44"/>
                  <a:gd name="T5" fmla="*/ 110 h 114"/>
                  <a:gd name="T6" fmla="*/ 0 w 44"/>
                  <a:gd name="T7" fmla="*/ 110 h 114"/>
                  <a:gd name="T8" fmla="*/ 4 w 44"/>
                  <a:gd name="T9" fmla="*/ 114 h 114"/>
                  <a:gd name="T10" fmla="*/ 6 w 44"/>
                  <a:gd name="T11" fmla="*/ 110 h 114"/>
                  <a:gd name="T12" fmla="*/ 6 w 44"/>
                  <a:gd name="T13" fmla="*/ 110 h 114"/>
                  <a:gd name="T14" fmla="*/ 2 w 44"/>
                  <a:gd name="T15" fmla="*/ 106 h 114"/>
                  <a:gd name="T16" fmla="*/ 44 w 44"/>
                  <a:gd name="T1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14">
                    <a:moveTo>
                      <a:pt x="44" y="0"/>
                    </a:moveTo>
                    <a:lnTo>
                      <a:pt x="42" y="4"/>
                    </a:lnTo>
                    <a:lnTo>
                      <a:pt x="0" y="110"/>
                    </a:lnTo>
                    <a:lnTo>
                      <a:pt x="0" y="110"/>
                    </a:lnTo>
                    <a:lnTo>
                      <a:pt x="4" y="114"/>
                    </a:lnTo>
                    <a:lnTo>
                      <a:pt x="6" y="110"/>
                    </a:lnTo>
                    <a:lnTo>
                      <a:pt x="6" y="110"/>
                    </a:lnTo>
                    <a:lnTo>
                      <a:pt x="2" y="106"/>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87" name="Freeform 298"/>
              <p:cNvSpPr/>
              <p:nvPr>
                <p:custDataLst>
                  <p:tags r:id="rId132"/>
                </p:custDataLst>
              </p:nvPr>
            </p:nvSpPr>
            <p:spPr bwMode="auto">
              <a:xfrm>
                <a:off x="4070026" y="3467957"/>
                <a:ext cx="2124" cy="12744"/>
              </a:xfrm>
              <a:custGeom>
                <a:avLst/>
                <a:gdLst>
                  <a:gd name="T0" fmla="*/ 0 w 2"/>
                  <a:gd name="T1" fmla="*/ 0 h 12"/>
                  <a:gd name="T2" fmla="*/ 0 w 2"/>
                  <a:gd name="T3" fmla="*/ 0 h 12"/>
                  <a:gd name="T4" fmla="*/ 2 w 2"/>
                  <a:gd name="T5" fmla="*/ 12 h 12"/>
                  <a:gd name="T6" fmla="*/ 2 w 2"/>
                  <a:gd name="T7" fmla="*/ 10 h 12"/>
                  <a:gd name="T8" fmla="*/ 2 w 2"/>
                  <a:gd name="T9" fmla="*/ 10 h 12"/>
                  <a:gd name="T10" fmla="*/ 0 w 2"/>
                  <a:gd name="T11" fmla="*/ 0 h 12"/>
                </a:gdLst>
                <a:ahLst/>
                <a:cxnLst>
                  <a:cxn ang="0">
                    <a:pos x="T0" y="T1"/>
                  </a:cxn>
                  <a:cxn ang="0">
                    <a:pos x="T2" y="T3"/>
                  </a:cxn>
                  <a:cxn ang="0">
                    <a:pos x="T4" y="T5"/>
                  </a:cxn>
                  <a:cxn ang="0">
                    <a:pos x="T6" y="T7"/>
                  </a:cxn>
                  <a:cxn ang="0">
                    <a:pos x="T8" y="T9"/>
                  </a:cxn>
                  <a:cxn ang="0">
                    <a:pos x="T10" y="T11"/>
                  </a:cxn>
                </a:cxnLst>
                <a:rect l="0" t="0" r="r" b="b"/>
                <a:pathLst>
                  <a:path w="2" h="12">
                    <a:moveTo>
                      <a:pt x="0" y="0"/>
                    </a:moveTo>
                    <a:lnTo>
                      <a:pt x="0" y="0"/>
                    </a:lnTo>
                    <a:lnTo>
                      <a:pt x="2" y="12"/>
                    </a:lnTo>
                    <a:lnTo>
                      <a:pt x="2" y="10"/>
                    </a:lnTo>
                    <a:lnTo>
                      <a:pt x="2" y="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88" name="Freeform 36"/>
              <p:cNvSpPr/>
              <p:nvPr/>
            </p:nvSpPr>
            <p:spPr bwMode="auto">
              <a:xfrm rot="619432" flipH="1">
                <a:off x="3588374" y="3278649"/>
                <a:ext cx="385935" cy="732187"/>
              </a:xfrm>
              <a:custGeom>
                <a:avLst/>
                <a:gdLst>
                  <a:gd name="T0" fmla="*/ 668 w 1206"/>
                  <a:gd name="T1" fmla="*/ 650 h 2288"/>
                  <a:gd name="T2" fmla="*/ 656 w 1206"/>
                  <a:gd name="T3" fmla="*/ 494 h 2288"/>
                  <a:gd name="T4" fmla="*/ 640 w 1206"/>
                  <a:gd name="T5" fmla="*/ 466 h 2288"/>
                  <a:gd name="T6" fmla="*/ 606 w 1206"/>
                  <a:gd name="T7" fmla="*/ 446 h 2288"/>
                  <a:gd name="T8" fmla="*/ 560 w 1206"/>
                  <a:gd name="T9" fmla="*/ 446 h 2288"/>
                  <a:gd name="T10" fmla="*/ 526 w 1206"/>
                  <a:gd name="T11" fmla="*/ 462 h 2288"/>
                  <a:gd name="T12" fmla="*/ 504 w 1206"/>
                  <a:gd name="T13" fmla="*/ 496 h 2288"/>
                  <a:gd name="T14" fmla="*/ 492 w 1206"/>
                  <a:gd name="T15" fmla="*/ 580 h 2288"/>
                  <a:gd name="T16" fmla="*/ 504 w 1206"/>
                  <a:gd name="T17" fmla="*/ 676 h 2288"/>
                  <a:gd name="T18" fmla="*/ 538 w 1206"/>
                  <a:gd name="T19" fmla="*/ 738 h 2288"/>
                  <a:gd name="T20" fmla="*/ 624 w 1206"/>
                  <a:gd name="T21" fmla="*/ 804 h 2288"/>
                  <a:gd name="T22" fmla="*/ 882 w 1206"/>
                  <a:gd name="T23" fmla="*/ 966 h 2288"/>
                  <a:gd name="T24" fmla="*/ 1048 w 1206"/>
                  <a:gd name="T25" fmla="*/ 1084 h 2288"/>
                  <a:gd name="T26" fmla="*/ 1110 w 1206"/>
                  <a:gd name="T27" fmla="*/ 1156 h 2288"/>
                  <a:gd name="T28" fmla="*/ 1160 w 1206"/>
                  <a:gd name="T29" fmla="*/ 1252 h 2288"/>
                  <a:gd name="T30" fmla="*/ 1188 w 1206"/>
                  <a:gd name="T31" fmla="*/ 1340 h 2288"/>
                  <a:gd name="T32" fmla="*/ 1206 w 1206"/>
                  <a:gd name="T33" fmla="*/ 1480 h 2288"/>
                  <a:gd name="T34" fmla="*/ 1198 w 1206"/>
                  <a:gd name="T35" fmla="*/ 1642 h 2288"/>
                  <a:gd name="T36" fmla="*/ 1158 w 1206"/>
                  <a:gd name="T37" fmla="*/ 1798 h 2288"/>
                  <a:gd name="T38" fmla="*/ 1112 w 1206"/>
                  <a:gd name="T39" fmla="*/ 1886 h 2288"/>
                  <a:gd name="T40" fmla="*/ 1066 w 1206"/>
                  <a:gd name="T41" fmla="*/ 1942 h 2288"/>
                  <a:gd name="T42" fmla="*/ 992 w 1206"/>
                  <a:gd name="T43" fmla="*/ 2006 h 2288"/>
                  <a:gd name="T44" fmla="*/ 878 w 1206"/>
                  <a:gd name="T45" fmla="*/ 2064 h 2288"/>
                  <a:gd name="T46" fmla="*/ 710 w 1206"/>
                  <a:gd name="T47" fmla="*/ 2288 h 2288"/>
                  <a:gd name="T48" fmla="*/ 440 w 1206"/>
                  <a:gd name="T49" fmla="*/ 2094 h 2288"/>
                  <a:gd name="T50" fmla="*/ 266 w 1206"/>
                  <a:gd name="T51" fmla="*/ 2032 h 2288"/>
                  <a:gd name="T52" fmla="*/ 150 w 1206"/>
                  <a:gd name="T53" fmla="*/ 1952 h 2288"/>
                  <a:gd name="T54" fmla="*/ 88 w 1206"/>
                  <a:gd name="T55" fmla="*/ 1874 h 2288"/>
                  <a:gd name="T56" fmla="*/ 42 w 1206"/>
                  <a:gd name="T57" fmla="*/ 1774 h 2288"/>
                  <a:gd name="T58" fmla="*/ 16 w 1206"/>
                  <a:gd name="T59" fmla="*/ 1648 h 2288"/>
                  <a:gd name="T60" fmla="*/ 6 w 1206"/>
                  <a:gd name="T61" fmla="*/ 1406 h 2288"/>
                  <a:gd name="T62" fmla="*/ 490 w 1206"/>
                  <a:gd name="T63" fmla="*/ 1612 h 2288"/>
                  <a:gd name="T64" fmla="*/ 504 w 1206"/>
                  <a:gd name="T65" fmla="*/ 1766 h 2288"/>
                  <a:gd name="T66" fmla="*/ 520 w 1206"/>
                  <a:gd name="T67" fmla="*/ 1794 h 2288"/>
                  <a:gd name="T68" fmla="*/ 562 w 1206"/>
                  <a:gd name="T69" fmla="*/ 1812 h 2288"/>
                  <a:gd name="T70" fmla="*/ 608 w 1206"/>
                  <a:gd name="T71" fmla="*/ 1808 h 2288"/>
                  <a:gd name="T72" fmla="*/ 642 w 1206"/>
                  <a:gd name="T73" fmla="*/ 1788 h 2288"/>
                  <a:gd name="T74" fmla="*/ 666 w 1206"/>
                  <a:gd name="T75" fmla="*/ 1738 h 2288"/>
                  <a:gd name="T76" fmla="*/ 670 w 1206"/>
                  <a:gd name="T77" fmla="*/ 1608 h 2288"/>
                  <a:gd name="T78" fmla="*/ 650 w 1206"/>
                  <a:gd name="T79" fmla="*/ 1450 h 2288"/>
                  <a:gd name="T80" fmla="*/ 616 w 1206"/>
                  <a:gd name="T81" fmla="*/ 1396 h 2288"/>
                  <a:gd name="T82" fmla="*/ 526 w 1206"/>
                  <a:gd name="T83" fmla="*/ 1318 h 2288"/>
                  <a:gd name="T84" fmla="*/ 308 w 1206"/>
                  <a:gd name="T85" fmla="*/ 1178 h 2288"/>
                  <a:gd name="T86" fmla="*/ 174 w 1206"/>
                  <a:gd name="T87" fmla="*/ 1078 h 2288"/>
                  <a:gd name="T88" fmla="*/ 104 w 1206"/>
                  <a:gd name="T89" fmla="*/ 994 h 2288"/>
                  <a:gd name="T90" fmla="*/ 58 w 1206"/>
                  <a:gd name="T91" fmla="*/ 912 h 2288"/>
                  <a:gd name="T92" fmla="*/ 14 w 1206"/>
                  <a:gd name="T93" fmla="*/ 786 h 2288"/>
                  <a:gd name="T94" fmla="*/ 0 w 1206"/>
                  <a:gd name="T95" fmla="*/ 644 h 2288"/>
                  <a:gd name="T96" fmla="*/ 16 w 1206"/>
                  <a:gd name="T97" fmla="*/ 496 h 2288"/>
                  <a:gd name="T98" fmla="*/ 92 w 1206"/>
                  <a:gd name="T99" fmla="*/ 338 h 2288"/>
                  <a:gd name="T100" fmla="*/ 190 w 1206"/>
                  <a:gd name="T101" fmla="*/ 250 h 2288"/>
                  <a:gd name="T102" fmla="*/ 374 w 1206"/>
                  <a:gd name="T103" fmla="*/ 174 h 2288"/>
                  <a:gd name="T104" fmla="*/ 710 w 1206"/>
                  <a:gd name="T105" fmla="*/ 0 h 2288"/>
                  <a:gd name="T106" fmla="*/ 814 w 1206"/>
                  <a:gd name="T107" fmla="*/ 174 h 2288"/>
                  <a:gd name="T108" fmla="*/ 982 w 1206"/>
                  <a:gd name="T109" fmla="*/ 250 h 2288"/>
                  <a:gd name="T110" fmla="*/ 1070 w 1206"/>
                  <a:gd name="T111" fmla="*/ 336 h 2288"/>
                  <a:gd name="T112" fmla="*/ 1140 w 1206"/>
                  <a:gd name="T113" fmla="*/ 492 h 2288"/>
                  <a:gd name="T114" fmla="*/ 1154 w 1206"/>
                  <a:gd name="T115" fmla="*/ 638 h 2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06" h="2288">
                    <a:moveTo>
                      <a:pt x="1150" y="730"/>
                    </a:moveTo>
                    <a:lnTo>
                      <a:pt x="668" y="730"/>
                    </a:lnTo>
                    <a:lnTo>
                      <a:pt x="668" y="650"/>
                    </a:lnTo>
                    <a:lnTo>
                      <a:pt x="668" y="650"/>
                    </a:lnTo>
                    <a:lnTo>
                      <a:pt x="668" y="592"/>
                    </a:lnTo>
                    <a:lnTo>
                      <a:pt x="664" y="544"/>
                    </a:lnTo>
                    <a:lnTo>
                      <a:pt x="658" y="508"/>
                    </a:lnTo>
                    <a:lnTo>
                      <a:pt x="656" y="494"/>
                    </a:lnTo>
                    <a:lnTo>
                      <a:pt x="652" y="482"/>
                    </a:lnTo>
                    <a:lnTo>
                      <a:pt x="652" y="482"/>
                    </a:lnTo>
                    <a:lnTo>
                      <a:pt x="646" y="474"/>
                    </a:lnTo>
                    <a:lnTo>
                      <a:pt x="640" y="466"/>
                    </a:lnTo>
                    <a:lnTo>
                      <a:pt x="634" y="458"/>
                    </a:lnTo>
                    <a:lnTo>
                      <a:pt x="626" y="454"/>
                    </a:lnTo>
                    <a:lnTo>
                      <a:pt x="616" y="448"/>
                    </a:lnTo>
                    <a:lnTo>
                      <a:pt x="606" y="446"/>
                    </a:lnTo>
                    <a:lnTo>
                      <a:pt x="594" y="444"/>
                    </a:lnTo>
                    <a:lnTo>
                      <a:pt x="580" y="444"/>
                    </a:lnTo>
                    <a:lnTo>
                      <a:pt x="580" y="444"/>
                    </a:lnTo>
                    <a:lnTo>
                      <a:pt x="560" y="446"/>
                    </a:lnTo>
                    <a:lnTo>
                      <a:pt x="550" y="448"/>
                    </a:lnTo>
                    <a:lnTo>
                      <a:pt x="542" y="452"/>
                    </a:lnTo>
                    <a:lnTo>
                      <a:pt x="534" y="456"/>
                    </a:lnTo>
                    <a:lnTo>
                      <a:pt x="526" y="462"/>
                    </a:lnTo>
                    <a:lnTo>
                      <a:pt x="520" y="470"/>
                    </a:lnTo>
                    <a:lnTo>
                      <a:pt x="514" y="478"/>
                    </a:lnTo>
                    <a:lnTo>
                      <a:pt x="514" y="478"/>
                    </a:lnTo>
                    <a:lnTo>
                      <a:pt x="504" y="496"/>
                    </a:lnTo>
                    <a:lnTo>
                      <a:pt x="498" y="520"/>
                    </a:lnTo>
                    <a:lnTo>
                      <a:pt x="494" y="548"/>
                    </a:lnTo>
                    <a:lnTo>
                      <a:pt x="492" y="580"/>
                    </a:lnTo>
                    <a:lnTo>
                      <a:pt x="492" y="580"/>
                    </a:lnTo>
                    <a:lnTo>
                      <a:pt x="492" y="606"/>
                    </a:lnTo>
                    <a:lnTo>
                      <a:pt x="494" y="632"/>
                    </a:lnTo>
                    <a:lnTo>
                      <a:pt x="498" y="654"/>
                    </a:lnTo>
                    <a:lnTo>
                      <a:pt x="504" y="676"/>
                    </a:lnTo>
                    <a:lnTo>
                      <a:pt x="510" y="694"/>
                    </a:lnTo>
                    <a:lnTo>
                      <a:pt x="518" y="712"/>
                    </a:lnTo>
                    <a:lnTo>
                      <a:pt x="526" y="726"/>
                    </a:lnTo>
                    <a:lnTo>
                      <a:pt x="538" y="738"/>
                    </a:lnTo>
                    <a:lnTo>
                      <a:pt x="538" y="738"/>
                    </a:lnTo>
                    <a:lnTo>
                      <a:pt x="550" y="750"/>
                    </a:lnTo>
                    <a:lnTo>
                      <a:pt x="570" y="766"/>
                    </a:lnTo>
                    <a:lnTo>
                      <a:pt x="624" y="804"/>
                    </a:lnTo>
                    <a:lnTo>
                      <a:pt x="700" y="854"/>
                    </a:lnTo>
                    <a:lnTo>
                      <a:pt x="798" y="914"/>
                    </a:lnTo>
                    <a:lnTo>
                      <a:pt x="798" y="914"/>
                    </a:lnTo>
                    <a:lnTo>
                      <a:pt x="882" y="966"/>
                    </a:lnTo>
                    <a:lnTo>
                      <a:pt x="952" y="1012"/>
                    </a:lnTo>
                    <a:lnTo>
                      <a:pt x="1006" y="1052"/>
                    </a:lnTo>
                    <a:lnTo>
                      <a:pt x="1048" y="1084"/>
                    </a:lnTo>
                    <a:lnTo>
                      <a:pt x="1048" y="1084"/>
                    </a:lnTo>
                    <a:lnTo>
                      <a:pt x="1064" y="1100"/>
                    </a:lnTo>
                    <a:lnTo>
                      <a:pt x="1080" y="1116"/>
                    </a:lnTo>
                    <a:lnTo>
                      <a:pt x="1094" y="1136"/>
                    </a:lnTo>
                    <a:lnTo>
                      <a:pt x="1110" y="1156"/>
                    </a:lnTo>
                    <a:lnTo>
                      <a:pt x="1122" y="1178"/>
                    </a:lnTo>
                    <a:lnTo>
                      <a:pt x="1136" y="1200"/>
                    </a:lnTo>
                    <a:lnTo>
                      <a:pt x="1148" y="1226"/>
                    </a:lnTo>
                    <a:lnTo>
                      <a:pt x="1160" y="1252"/>
                    </a:lnTo>
                    <a:lnTo>
                      <a:pt x="1160" y="1252"/>
                    </a:lnTo>
                    <a:lnTo>
                      <a:pt x="1170" y="1280"/>
                    </a:lnTo>
                    <a:lnTo>
                      <a:pt x="1180" y="1308"/>
                    </a:lnTo>
                    <a:lnTo>
                      <a:pt x="1188" y="1340"/>
                    </a:lnTo>
                    <a:lnTo>
                      <a:pt x="1194" y="1372"/>
                    </a:lnTo>
                    <a:lnTo>
                      <a:pt x="1200" y="1406"/>
                    </a:lnTo>
                    <a:lnTo>
                      <a:pt x="1204" y="1444"/>
                    </a:lnTo>
                    <a:lnTo>
                      <a:pt x="1206" y="1480"/>
                    </a:lnTo>
                    <a:lnTo>
                      <a:pt x="1206" y="1520"/>
                    </a:lnTo>
                    <a:lnTo>
                      <a:pt x="1206" y="1520"/>
                    </a:lnTo>
                    <a:lnTo>
                      <a:pt x="1204" y="1582"/>
                    </a:lnTo>
                    <a:lnTo>
                      <a:pt x="1198" y="1642"/>
                    </a:lnTo>
                    <a:lnTo>
                      <a:pt x="1188" y="1698"/>
                    </a:lnTo>
                    <a:lnTo>
                      <a:pt x="1176" y="1750"/>
                    </a:lnTo>
                    <a:lnTo>
                      <a:pt x="1166" y="1774"/>
                    </a:lnTo>
                    <a:lnTo>
                      <a:pt x="1158" y="1798"/>
                    </a:lnTo>
                    <a:lnTo>
                      <a:pt x="1148" y="1822"/>
                    </a:lnTo>
                    <a:lnTo>
                      <a:pt x="1136" y="1844"/>
                    </a:lnTo>
                    <a:lnTo>
                      <a:pt x="1124" y="1866"/>
                    </a:lnTo>
                    <a:lnTo>
                      <a:pt x="1112" y="1886"/>
                    </a:lnTo>
                    <a:lnTo>
                      <a:pt x="1098" y="1906"/>
                    </a:lnTo>
                    <a:lnTo>
                      <a:pt x="1082" y="1924"/>
                    </a:lnTo>
                    <a:lnTo>
                      <a:pt x="1082" y="1924"/>
                    </a:lnTo>
                    <a:lnTo>
                      <a:pt x="1066" y="1942"/>
                    </a:lnTo>
                    <a:lnTo>
                      <a:pt x="1050" y="1960"/>
                    </a:lnTo>
                    <a:lnTo>
                      <a:pt x="1032" y="1976"/>
                    </a:lnTo>
                    <a:lnTo>
                      <a:pt x="1012" y="1990"/>
                    </a:lnTo>
                    <a:lnTo>
                      <a:pt x="992" y="2006"/>
                    </a:lnTo>
                    <a:lnTo>
                      <a:pt x="972" y="2018"/>
                    </a:lnTo>
                    <a:lnTo>
                      <a:pt x="950" y="2032"/>
                    </a:lnTo>
                    <a:lnTo>
                      <a:pt x="928" y="2044"/>
                    </a:lnTo>
                    <a:lnTo>
                      <a:pt x="878" y="2064"/>
                    </a:lnTo>
                    <a:lnTo>
                      <a:pt x="826" y="2082"/>
                    </a:lnTo>
                    <a:lnTo>
                      <a:pt x="770" y="2096"/>
                    </a:lnTo>
                    <a:lnTo>
                      <a:pt x="710" y="2106"/>
                    </a:lnTo>
                    <a:lnTo>
                      <a:pt x="710" y="2288"/>
                    </a:lnTo>
                    <a:lnTo>
                      <a:pt x="488" y="2288"/>
                    </a:lnTo>
                    <a:lnTo>
                      <a:pt x="488" y="2100"/>
                    </a:lnTo>
                    <a:lnTo>
                      <a:pt x="488" y="2100"/>
                    </a:lnTo>
                    <a:lnTo>
                      <a:pt x="440" y="2094"/>
                    </a:lnTo>
                    <a:lnTo>
                      <a:pt x="394" y="2084"/>
                    </a:lnTo>
                    <a:lnTo>
                      <a:pt x="350" y="2070"/>
                    </a:lnTo>
                    <a:lnTo>
                      <a:pt x="308" y="2054"/>
                    </a:lnTo>
                    <a:lnTo>
                      <a:pt x="266" y="2032"/>
                    </a:lnTo>
                    <a:lnTo>
                      <a:pt x="226" y="2010"/>
                    </a:lnTo>
                    <a:lnTo>
                      <a:pt x="188" y="1982"/>
                    </a:lnTo>
                    <a:lnTo>
                      <a:pt x="150" y="1952"/>
                    </a:lnTo>
                    <a:lnTo>
                      <a:pt x="150" y="1952"/>
                    </a:lnTo>
                    <a:lnTo>
                      <a:pt x="134" y="1934"/>
                    </a:lnTo>
                    <a:lnTo>
                      <a:pt x="116" y="1916"/>
                    </a:lnTo>
                    <a:lnTo>
                      <a:pt x="102" y="1896"/>
                    </a:lnTo>
                    <a:lnTo>
                      <a:pt x="88" y="1874"/>
                    </a:lnTo>
                    <a:lnTo>
                      <a:pt x="74" y="1852"/>
                    </a:lnTo>
                    <a:lnTo>
                      <a:pt x="62" y="1828"/>
                    </a:lnTo>
                    <a:lnTo>
                      <a:pt x="52" y="1802"/>
                    </a:lnTo>
                    <a:lnTo>
                      <a:pt x="42" y="1774"/>
                    </a:lnTo>
                    <a:lnTo>
                      <a:pt x="34" y="1744"/>
                    </a:lnTo>
                    <a:lnTo>
                      <a:pt x="26" y="1714"/>
                    </a:lnTo>
                    <a:lnTo>
                      <a:pt x="20" y="1682"/>
                    </a:lnTo>
                    <a:lnTo>
                      <a:pt x="16" y="1648"/>
                    </a:lnTo>
                    <a:lnTo>
                      <a:pt x="12" y="1614"/>
                    </a:lnTo>
                    <a:lnTo>
                      <a:pt x="8" y="1578"/>
                    </a:lnTo>
                    <a:lnTo>
                      <a:pt x="6" y="1500"/>
                    </a:lnTo>
                    <a:lnTo>
                      <a:pt x="6" y="1406"/>
                    </a:lnTo>
                    <a:lnTo>
                      <a:pt x="488" y="1406"/>
                    </a:lnTo>
                    <a:lnTo>
                      <a:pt x="488" y="1524"/>
                    </a:lnTo>
                    <a:lnTo>
                      <a:pt x="488" y="1524"/>
                    </a:lnTo>
                    <a:lnTo>
                      <a:pt x="490" y="1612"/>
                    </a:lnTo>
                    <a:lnTo>
                      <a:pt x="492" y="1682"/>
                    </a:lnTo>
                    <a:lnTo>
                      <a:pt x="496" y="1732"/>
                    </a:lnTo>
                    <a:lnTo>
                      <a:pt x="500" y="1752"/>
                    </a:lnTo>
                    <a:lnTo>
                      <a:pt x="504" y="1766"/>
                    </a:lnTo>
                    <a:lnTo>
                      <a:pt x="504" y="1766"/>
                    </a:lnTo>
                    <a:lnTo>
                      <a:pt x="508" y="1776"/>
                    </a:lnTo>
                    <a:lnTo>
                      <a:pt x="514" y="1786"/>
                    </a:lnTo>
                    <a:lnTo>
                      <a:pt x="520" y="1794"/>
                    </a:lnTo>
                    <a:lnTo>
                      <a:pt x="528" y="1800"/>
                    </a:lnTo>
                    <a:lnTo>
                      <a:pt x="538" y="1806"/>
                    </a:lnTo>
                    <a:lnTo>
                      <a:pt x="550" y="1810"/>
                    </a:lnTo>
                    <a:lnTo>
                      <a:pt x="562" y="1812"/>
                    </a:lnTo>
                    <a:lnTo>
                      <a:pt x="576" y="1812"/>
                    </a:lnTo>
                    <a:lnTo>
                      <a:pt x="576" y="1812"/>
                    </a:lnTo>
                    <a:lnTo>
                      <a:pt x="598" y="1810"/>
                    </a:lnTo>
                    <a:lnTo>
                      <a:pt x="608" y="1808"/>
                    </a:lnTo>
                    <a:lnTo>
                      <a:pt x="618" y="1804"/>
                    </a:lnTo>
                    <a:lnTo>
                      <a:pt x="626" y="1800"/>
                    </a:lnTo>
                    <a:lnTo>
                      <a:pt x="634" y="1794"/>
                    </a:lnTo>
                    <a:lnTo>
                      <a:pt x="642" y="1788"/>
                    </a:lnTo>
                    <a:lnTo>
                      <a:pt x="648" y="1780"/>
                    </a:lnTo>
                    <a:lnTo>
                      <a:pt x="648" y="1780"/>
                    </a:lnTo>
                    <a:lnTo>
                      <a:pt x="658" y="1762"/>
                    </a:lnTo>
                    <a:lnTo>
                      <a:pt x="666" y="1738"/>
                    </a:lnTo>
                    <a:lnTo>
                      <a:pt x="670" y="1712"/>
                    </a:lnTo>
                    <a:lnTo>
                      <a:pt x="672" y="1682"/>
                    </a:lnTo>
                    <a:lnTo>
                      <a:pt x="672" y="1682"/>
                    </a:lnTo>
                    <a:lnTo>
                      <a:pt x="670" y="1608"/>
                    </a:lnTo>
                    <a:lnTo>
                      <a:pt x="666" y="1544"/>
                    </a:lnTo>
                    <a:lnTo>
                      <a:pt x="660" y="1492"/>
                    </a:lnTo>
                    <a:lnTo>
                      <a:pt x="654" y="1470"/>
                    </a:lnTo>
                    <a:lnTo>
                      <a:pt x="650" y="1450"/>
                    </a:lnTo>
                    <a:lnTo>
                      <a:pt x="650" y="1450"/>
                    </a:lnTo>
                    <a:lnTo>
                      <a:pt x="642" y="1432"/>
                    </a:lnTo>
                    <a:lnTo>
                      <a:pt x="632" y="1414"/>
                    </a:lnTo>
                    <a:lnTo>
                      <a:pt x="616" y="1396"/>
                    </a:lnTo>
                    <a:lnTo>
                      <a:pt x="600" y="1378"/>
                    </a:lnTo>
                    <a:lnTo>
                      <a:pt x="578" y="1358"/>
                    </a:lnTo>
                    <a:lnTo>
                      <a:pt x="554" y="1338"/>
                    </a:lnTo>
                    <a:lnTo>
                      <a:pt x="526" y="1318"/>
                    </a:lnTo>
                    <a:lnTo>
                      <a:pt x="494" y="1298"/>
                    </a:lnTo>
                    <a:lnTo>
                      <a:pt x="494" y="1298"/>
                    </a:lnTo>
                    <a:lnTo>
                      <a:pt x="392" y="1234"/>
                    </a:lnTo>
                    <a:lnTo>
                      <a:pt x="308" y="1178"/>
                    </a:lnTo>
                    <a:lnTo>
                      <a:pt x="242" y="1132"/>
                    </a:lnTo>
                    <a:lnTo>
                      <a:pt x="194" y="1096"/>
                    </a:lnTo>
                    <a:lnTo>
                      <a:pt x="194" y="1096"/>
                    </a:lnTo>
                    <a:lnTo>
                      <a:pt x="174" y="1078"/>
                    </a:lnTo>
                    <a:lnTo>
                      <a:pt x="156" y="1060"/>
                    </a:lnTo>
                    <a:lnTo>
                      <a:pt x="138" y="1038"/>
                    </a:lnTo>
                    <a:lnTo>
                      <a:pt x="120" y="1016"/>
                    </a:lnTo>
                    <a:lnTo>
                      <a:pt x="104" y="994"/>
                    </a:lnTo>
                    <a:lnTo>
                      <a:pt x="88" y="968"/>
                    </a:lnTo>
                    <a:lnTo>
                      <a:pt x="72" y="940"/>
                    </a:lnTo>
                    <a:lnTo>
                      <a:pt x="58" y="912"/>
                    </a:lnTo>
                    <a:lnTo>
                      <a:pt x="58" y="912"/>
                    </a:lnTo>
                    <a:lnTo>
                      <a:pt x="44" y="882"/>
                    </a:lnTo>
                    <a:lnTo>
                      <a:pt x="32" y="852"/>
                    </a:lnTo>
                    <a:lnTo>
                      <a:pt x="22" y="820"/>
                    </a:lnTo>
                    <a:lnTo>
                      <a:pt x="14" y="786"/>
                    </a:lnTo>
                    <a:lnTo>
                      <a:pt x="8" y="752"/>
                    </a:lnTo>
                    <a:lnTo>
                      <a:pt x="2" y="718"/>
                    </a:lnTo>
                    <a:lnTo>
                      <a:pt x="0" y="682"/>
                    </a:lnTo>
                    <a:lnTo>
                      <a:pt x="0" y="644"/>
                    </a:lnTo>
                    <a:lnTo>
                      <a:pt x="0" y="644"/>
                    </a:lnTo>
                    <a:lnTo>
                      <a:pt x="2" y="592"/>
                    </a:lnTo>
                    <a:lnTo>
                      <a:pt x="6" y="542"/>
                    </a:lnTo>
                    <a:lnTo>
                      <a:pt x="16" y="496"/>
                    </a:lnTo>
                    <a:lnTo>
                      <a:pt x="30" y="452"/>
                    </a:lnTo>
                    <a:lnTo>
                      <a:pt x="48" y="412"/>
                    </a:lnTo>
                    <a:lnTo>
                      <a:pt x="68" y="374"/>
                    </a:lnTo>
                    <a:lnTo>
                      <a:pt x="92" y="338"/>
                    </a:lnTo>
                    <a:lnTo>
                      <a:pt x="122" y="306"/>
                    </a:lnTo>
                    <a:lnTo>
                      <a:pt x="122" y="306"/>
                    </a:lnTo>
                    <a:lnTo>
                      <a:pt x="154" y="278"/>
                    </a:lnTo>
                    <a:lnTo>
                      <a:pt x="190" y="250"/>
                    </a:lnTo>
                    <a:lnTo>
                      <a:pt x="230" y="228"/>
                    </a:lnTo>
                    <a:lnTo>
                      <a:pt x="274" y="206"/>
                    </a:lnTo>
                    <a:lnTo>
                      <a:pt x="322" y="190"/>
                    </a:lnTo>
                    <a:lnTo>
                      <a:pt x="374" y="174"/>
                    </a:lnTo>
                    <a:lnTo>
                      <a:pt x="430" y="164"/>
                    </a:lnTo>
                    <a:lnTo>
                      <a:pt x="488" y="154"/>
                    </a:lnTo>
                    <a:lnTo>
                      <a:pt x="488" y="0"/>
                    </a:lnTo>
                    <a:lnTo>
                      <a:pt x="710" y="0"/>
                    </a:lnTo>
                    <a:lnTo>
                      <a:pt x="710" y="154"/>
                    </a:lnTo>
                    <a:lnTo>
                      <a:pt x="710" y="154"/>
                    </a:lnTo>
                    <a:lnTo>
                      <a:pt x="764" y="164"/>
                    </a:lnTo>
                    <a:lnTo>
                      <a:pt x="814" y="174"/>
                    </a:lnTo>
                    <a:lnTo>
                      <a:pt x="862" y="190"/>
                    </a:lnTo>
                    <a:lnTo>
                      <a:pt x="904" y="206"/>
                    </a:lnTo>
                    <a:lnTo>
                      <a:pt x="944" y="226"/>
                    </a:lnTo>
                    <a:lnTo>
                      <a:pt x="982" y="250"/>
                    </a:lnTo>
                    <a:lnTo>
                      <a:pt x="1014" y="276"/>
                    </a:lnTo>
                    <a:lnTo>
                      <a:pt x="1044" y="304"/>
                    </a:lnTo>
                    <a:lnTo>
                      <a:pt x="1044" y="304"/>
                    </a:lnTo>
                    <a:lnTo>
                      <a:pt x="1070" y="336"/>
                    </a:lnTo>
                    <a:lnTo>
                      <a:pt x="1092" y="370"/>
                    </a:lnTo>
                    <a:lnTo>
                      <a:pt x="1112" y="408"/>
                    </a:lnTo>
                    <a:lnTo>
                      <a:pt x="1128" y="448"/>
                    </a:lnTo>
                    <a:lnTo>
                      <a:pt x="1140" y="492"/>
                    </a:lnTo>
                    <a:lnTo>
                      <a:pt x="1148" y="538"/>
                    </a:lnTo>
                    <a:lnTo>
                      <a:pt x="1154" y="588"/>
                    </a:lnTo>
                    <a:lnTo>
                      <a:pt x="1154" y="638"/>
                    </a:lnTo>
                    <a:lnTo>
                      <a:pt x="1154" y="638"/>
                    </a:lnTo>
                    <a:lnTo>
                      <a:pt x="1154" y="676"/>
                    </a:lnTo>
                    <a:lnTo>
                      <a:pt x="1150" y="730"/>
                    </a:lnTo>
                    <a:lnTo>
                      <a:pt x="1150" y="730"/>
                    </a:lnTo>
                    <a:close/>
                  </a:path>
                </a:pathLst>
              </a:custGeom>
              <a:solidFill>
                <a:schemeClr val="bg1"/>
              </a:solidFill>
              <a:ln>
                <a:noFill/>
              </a:ln>
            </p:spPr>
            <p:txBody>
              <a:bodyPr vert="horz" wrap="square" lIns="68580" tIns="34290" rIns="68580" bIns="34290" numCol="1" anchor="t" anchorCtr="0" compatLnSpc="1"/>
              <a:lstStyle/>
              <a:p>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89" name="Freeform 235"/>
              <p:cNvSpPr/>
              <p:nvPr/>
            </p:nvSpPr>
            <p:spPr>
              <a:xfrm>
                <a:off x="3412079" y="3133730"/>
                <a:ext cx="897966" cy="497757"/>
              </a:xfrm>
              <a:custGeom>
                <a:avLst/>
                <a:gdLst>
                  <a:gd name="connsiteX0" fmla="*/ 0 w 1857388"/>
                  <a:gd name="connsiteY0" fmla="*/ 928694 h 1857388"/>
                  <a:gd name="connsiteX1" fmla="*/ 272009 w 1857388"/>
                  <a:gd name="connsiteY1" fmla="*/ 272008 h 1857388"/>
                  <a:gd name="connsiteX2" fmla="*/ 928695 w 1857388"/>
                  <a:gd name="connsiteY2" fmla="*/ 1 h 1857388"/>
                  <a:gd name="connsiteX3" fmla="*/ 1585381 w 1857388"/>
                  <a:gd name="connsiteY3" fmla="*/ 272010 h 1857388"/>
                  <a:gd name="connsiteX4" fmla="*/ 1857388 w 1857388"/>
                  <a:gd name="connsiteY4" fmla="*/ 928696 h 1857388"/>
                  <a:gd name="connsiteX5" fmla="*/ 1585380 w 1857388"/>
                  <a:gd name="connsiteY5" fmla="*/ 1585382 h 1857388"/>
                  <a:gd name="connsiteX6" fmla="*/ 928694 w 1857388"/>
                  <a:gd name="connsiteY6" fmla="*/ 1857390 h 1857388"/>
                  <a:gd name="connsiteX7" fmla="*/ 272008 w 1857388"/>
                  <a:gd name="connsiteY7" fmla="*/ 1585381 h 1857388"/>
                  <a:gd name="connsiteX8" fmla="*/ 0 w 1857388"/>
                  <a:gd name="connsiteY8" fmla="*/ 928695 h 1857388"/>
                  <a:gd name="connsiteX9" fmla="*/ 0 w 1857388"/>
                  <a:gd name="connsiteY9" fmla="*/ 928694 h 1857388"/>
                  <a:gd name="connsiteX0-1" fmla="*/ 0 w 1857389"/>
                  <a:gd name="connsiteY0-2" fmla="*/ 928694 h 1860704"/>
                  <a:gd name="connsiteX1-3" fmla="*/ 272009 w 1857389"/>
                  <a:gd name="connsiteY1-4" fmla="*/ 272008 h 1860704"/>
                  <a:gd name="connsiteX2-5" fmla="*/ 928695 w 1857389"/>
                  <a:gd name="connsiteY2-6" fmla="*/ 1 h 1860704"/>
                  <a:gd name="connsiteX3-7" fmla="*/ 1585381 w 1857389"/>
                  <a:gd name="connsiteY3-8" fmla="*/ 272010 h 1860704"/>
                  <a:gd name="connsiteX4-9" fmla="*/ 1857388 w 1857389"/>
                  <a:gd name="connsiteY4-10" fmla="*/ 928696 h 1860704"/>
                  <a:gd name="connsiteX5-11" fmla="*/ 1585380 w 1857389"/>
                  <a:gd name="connsiteY5-12" fmla="*/ 1585382 h 1860704"/>
                  <a:gd name="connsiteX6-13" fmla="*/ 928694 w 1857389"/>
                  <a:gd name="connsiteY6-14" fmla="*/ 1857390 h 1860704"/>
                  <a:gd name="connsiteX7-15" fmla="*/ 923762 w 1857389"/>
                  <a:gd name="connsiteY7-16" fmla="*/ 1565498 h 1860704"/>
                  <a:gd name="connsiteX8-17" fmla="*/ 272008 w 1857389"/>
                  <a:gd name="connsiteY8-18" fmla="*/ 1585381 h 1860704"/>
                  <a:gd name="connsiteX9-19" fmla="*/ 0 w 1857389"/>
                  <a:gd name="connsiteY9-20" fmla="*/ 928695 h 1860704"/>
                  <a:gd name="connsiteX10" fmla="*/ 0 w 1857389"/>
                  <a:gd name="connsiteY10" fmla="*/ 928694 h 1860704"/>
                  <a:gd name="connsiteX0-21" fmla="*/ 0 w 1857389"/>
                  <a:gd name="connsiteY0-22" fmla="*/ 928694 h 1859638"/>
                  <a:gd name="connsiteX1-23" fmla="*/ 272009 w 1857389"/>
                  <a:gd name="connsiteY1-24" fmla="*/ 272008 h 1859638"/>
                  <a:gd name="connsiteX2-25" fmla="*/ 928695 w 1857389"/>
                  <a:gd name="connsiteY2-26" fmla="*/ 1 h 1859638"/>
                  <a:gd name="connsiteX3-27" fmla="*/ 1585381 w 1857389"/>
                  <a:gd name="connsiteY3-28" fmla="*/ 272010 h 1859638"/>
                  <a:gd name="connsiteX4-29" fmla="*/ 1857388 w 1857389"/>
                  <a:gd name="connsiteY4-30" fmla="*/ 928696 h 1859638"/>
                  <a:gd name="connsiteX5-31" fmla="*/ 1585380 w 1857389"/>
                  <a:gd name="connsiteY5-32" fmla="*/ 1585382 h 1859638"/>
                  <a:gd name="connsiteX6-33" fmla="*/ 928694 w 1857389"/>
                  <a:gd name="connsiteY6-34" fmla="*/ 1857390 h 1859638"/>
                  <a:gd name="connsiteX7-35" fmla="*/ 1069803 w 1857389"/>
                  <a:gd name="connsiteY7-36" fmla="*/ 1571892 h 1859638"/>
                  <a:gd name="connsiteX8-37" fmla="*/ 923762 w 1857389"/>
                  <a:gd name="connsiteY8-38" fmla="*/ 1565498 h 1859638"/>
                  <a:gd name="connsiteX9-39" fmla="*/ 272008 w 1857389"/>
                  <a:gd name="connsiteY9-40" fmla="*/ 1585381 h 1859638"/>
                  <a:gd name="connsiteX10-41" fmla="*/ 0 w 1857389"/>
                  <a:gd name="connsiteY10-42" fmla="*/ 928695 h 1859638"/>
                  <a:gd name="connsiteX11" fmla="*/ 0 w 1857389"/>
                  <a:gd name="connsiteY11" fmla="*/ 928694 h 1859638"/>
                  <a:gd name="connsiteX0-43" fmla="*/ 0 w 1857389"/>
                  <a:gd name="connsiteY0-44" fmla="*/ 928694 h 1691515"/>
                  <a:gd name="connsiteX1-45" fmla="*/ 272009 w 1857389"/>
                  <a:gd name="connsiteY1-46" fmla="*/ 272008 h 1691515"/>
                  <a:gd name="connsiteX2-47" fmla="*/ 928695 w 1857389"/>
                  <a:gd name="connsiteY2-48" fmla="*/ 1 h 1691515"/>
                  <a:gd name="connsiteX3-49" fmla="*/ 1585381 w 1857389"/>
                  <a:gd name="connsiteY3-50" fmla="*/ 272010 h 1691515"/>
                  <a:gd name="connsiteX4-51" fmla="*/ 1857388 w 1857389"/>
                  <a:gd name="connsiteY4-52" fmla="*/ 928696 h 1691515"/>
                  <a:gd name="connsiteX5-53" fmla="*/ 1585380 w 1857389"/>
                  <a:gd name="connsiteY5-54" fmla="*/ 1585382 h 1691515"/>
                  <a:gd name="connsiteX6-55" fmla="*/ 1214414 w 1857389"/>
                  <a:gd name="connsiteY6-56" fmla="*/ 1500176 h 1691515"/>
                  <a:gd name="connsiteX7-57" fmla="*/ 1069803 w 1857389"/>
                  <a:gd name="connsiteY7-58" fmla="*/ 1571892 h 1691515"/>
                  <a:gd name="connsiteX8-59" fmla="*/ 923762 w 1857389"/>
                  <a:gd name="connsiteY8-60" fmla="*/ 1565498 h 1691515"/>
                  <a:gd name="connsiteX9-61" fmla="*/ 272008 w 1857389"/>
                  <a:gd name="connsiteY9-62" fmla="*/ 1585381 h 1691515"/>
                  <a:gd name="connsiteX10-63" fmla="*/ 0 w 1857389"/>
                  <a:gd name="connsiteY10-64" fmla="*/ 928695 h 1691515"/>
                  <a:gd name="connsiteX11-65" fmla="*/ 0 w 1857389"/>
                  <a:gd name="connsiteY11-66" fmla="*/ 928694 h 1691515"/>
                  <a:gd name="connsiteX0-67" fmla="*/ 0 w 1857389"/>
                  <a:gd name="connsiteY0-68" fmla="*/ 928694 h 1691515"/>
                  <a:gd name="connsiteX1-69" fmla="*/ 272009 w 1857389"/>
                  <a:gd name="connsiteY1-70" fmla="*/ 272008 h 1691515"/>
                  <a:gd name="connsiteX2-71" fmla="*/ 928695 w 1857389"/>
                  <a:gd name="connsiteY2-72" fmla="*/ 1 h 1691515"/>
                  <a:gd name="connsiteX3-73" fmla="*/ 1585381 w 1857389"/>
                  <a:gd name="connsiteY3-74" fmla="*/ 272010 h 1691515"/>
                  <a:gd name="connsiteX4-75" fmla="*/ 1857388 w 1857389"/>
                  <a:gd name="connsiteY4-76" fmla="*/ 928696 h 1691515"/>
                  <a:gd name="connsiteX5-77" fmla="*/ 1585380 w 1857389"/>
                  <a:gd name="connsiteY5-78" fmla="*/ 1585382 h 1691515"/>
                  <a:gd name="connsiteX6-79" fmla="*/ 1214414 w 1857389"/>
                  <a:gd name="connsiteY6-80" fmla="*/ 1500176 h 1691515"/>
                  <a:gd name="connsiteX7-81" fmla="*/ 923762 w 1857389"/>
                  <a:gd name="connsiteY7-82" fmla="*/ 1565498 h 1691515"/>
                  <a:gd name="connsiteX8-83" fmla="*/ 272008 w 1857389"/>
                  <a:gd name="connsiteY8-84" fmla="*/ 1585381 h 1691515"/>
                  <a:gd name="connsiteX9-85" fmla="*/ 0 w 1857389"/>
                  <a:gd name="connsiteY9-86" fmla="*/ 928695 h 1691515"/>
                  <a:gd name="connsiteX10-87" fmla="*/ 0 w 1857389"/>
                  <a:gd name="connsiteY10-88" fmla="*/ 928694 h 1691515"/>
                  <a:gd name="connsiteX0-89" fmla="*/ 0 w 1857389"/>
                  <a:gd name="connsiteY0-90" fmla="*/ 928694 h 1680629"/>
                  <a:gd name="connsiteX1-91" fmla="*/ 272009 w 1857389"/>
                  <a:gd name="connsiteY1-92" fmla="*/ 272008 h 1680629"/>
                  <a:gd name="connsiteX2-93" fmla="*/ 928695 w 1857389"/>
                  <a:gd name="connsiteY2-94" fmla="*/ 1 h 1680629"/>
                  <a:gd name="connsiteX3-95" fmla="*/ 1585381 w 1857389"/>
                  <a:gd name="connsiteY3-96" fmla="*/ 272010 h 1680629"/>
                  <a:gd name="connsiteX4-97" fmla="*/ 1857388 w 1857389"/>
                  <a:gd name="connsiteY4-98" fmla="*/ 928696 h 1680629"/>
                  <a:gd name="connsiteX5-99" fmla="*/ 1585380 w 1857389"/>
                  <a:gd name="connsiteY5-100" fmla="*/ 1585382 h 1680629"/>
                  <a:gd name="connsiteX6-101" fmla="*/ 1214414 w 1857389"/>
                  <a:gd name="connsiteY6-102" fmla="*/ 1500176 h 1680629"/>
                  <a:gd name="connsiteX7-103" fmla="*/ 272008 w 1857389"/>
                  <a:gd name="connsiteY7-104" fmla="*/ 1585381 h 1680629"/>
                  <a:gd name="connsiteX8-105" fmla="*/ 0 w 1857389"/>
                  <a:gd name="connsiteY8-106" fmla="*/ 928695 h 1680629"/>
                  <a:gd name="connsiteX9-107" fmla="*/ 0 w 1857389"/>
                  <a:gd name="connsiteY9-108" fmla="*/ 928694 h 1680629"/>
                  <a:gd name="connsiteX0-109" fmla="*/ 0 w 1857389"/>
                  <a:gd name="connsiteY0-110" fmla="*/ 928694 h 1680629"/>
                  <a:gd name="connsiteX1-111" fmla="*/ 272009 w 1857389"/>
                  <a:gd name="connsiteY1-112" fmla="*/ 272008 h 1680629"/>
                  <a:gd name="connsiteX2-113" fmla="*/ 928695 w 1857389"/>
                  <a:gd name="connsiteY2-114" fmla="*/ 1 h 1680629"/>
                  <a:gd name="connsiteX3-115" fmla="*/ 1585381 w 1857389"/>
                  <a:gd name="connsiteY3-116" fmla="*/ 272010 h 1680629"/>
                  <a:gd name="connsiteX4-117" fmla="*/ 1857388 w 1857389"/>
                  <a:gd name="connsiteY4-118" fmla="*/ 928696 h 1680629"/>
                  <a:gd name="connsiteX5-119" fmla="*/ 1585380 w 1857389"/>
                  <a:gd name="connsiteY5-120" fmla="*/ 1585382 h 1680629"/>
                  <a:gd name="connsiteX6-121" fmla="*/ 1214414 w 1857389"/>
                  <a:gd name="connsiteY6-122" fmla="*/ 1500176 h 1680629"/>
                  <a:gd name="connsiteX7-123" fmla="*/ 0 w 1857389"/>
                  <a:gd name="connsiteY7-124" fmla="*/ 928695 h 1680629"/>
                  <a:gd name="connsiteX8-125" fmla="*/ 0 w 1857389"/>
                  <a:gd name="connsiteY8-126" fmla="*/ 928694 h 1680629"/>
                  <a:gd name="connsiteX0-127" fmla="*/ 0 w 1857389"/>
                  <a:gd name="connsiteY0-128" fmla="*/ 928694 h 1609187"/>
                  <a:gd name="connsiteX1-129" fmla="*/ 272009 w 1857389"/>
                  <a:gd name="connsiteY1-130" fmla="*/ 272008 h 1609187"/>
                  <a:gd name="connsiteX2-131" fmla="*/ 928695 w 1857389"/>
                  <a:gd name="connsiteY2-132" fmla="*/ 1 h 1609187"/>
                  <a:gd name="connsiteX3-133" fmla="*/ 1585381 w 1857389"/>
                  <a:gd name="connsiteY3-134" fmla="*/ 272010 h 1609187"/>
                  <a:gd name="connsiteX4-135" fmla="*/ 1857388 w 1857389"/>
                  <a:gd name="connsiteY4-136" fmla="*/ 928696 h 1609187"/>
                  <a:gd name="connsiteX5-137" fmla="*/ 1585380 w 1857389"/>
                  <a:gd name="connsiteY5-138" fmla="*/ 1585382 h 1609187"/>
                  <a:gd name="connsiteX6-139" fmla="*/ 928630 w 1857389"/>
                  <a:gd name="connsiteY6-140" fmla="*/ 1071524 h 1609187"/>
                  <a:gd name="connsiteX7-141" fmla="*/ 0 w 1857389"/>
                  <a:gd name="connsiteY7-142" fmla="*/ 928695 h 1609187"/>
                  <a:gd name="connsiteX8-143" fmla="*/ 0 w 1857389"/>
                  <a:gd name="connsiteY8-144" fmla="*/ 928694 h 1609187"/>
                  <a:gd name="connsiteX0-145" fmla="*/ 0 w 1857389"/>
                  <a:gd name="connsiteY0-146" fmla="*/ 928694 h 1071524"/>
                  <a:gd name="connsiteX1-147" fmla="*/ 272009 w 1857389"/>
                  <a:gd name="connsiteY1-148" fmla="*/ 272008 h 1071524"/>
                  <a:gd name="connsiteX2-149" fmla="*/ 928695 w 1857389"/>
                  <a:gd name="connsiteY2-150" fmla="*/ 1 h 1071524"/>
                  <a:gd name="connsiteX3-151" fmla="*/ 1585381 w 1857389"/>
                  <a:gd name="connsiteY3-152" fmla="*/ 272010 h 1071524"/>
                  <a:gd name="connsiteX4-153" fmla="*/ 1857388 w 1857389"/>
                  <a:gd name="connsiteY4-154" fmla="*/ 928696 h 1071524"/>
                  <a:gd name="connsiteX5-155" fmla="*/ 928630 w 1857389"/>
                  <a:gd name="connsiteY5-156" fmla="*/ 1071524 h 1071524"/>
                  <a:gd name="connsiteX6-157" fmla="*/ 0 w 1857389"/>
                  <a:gd name="connsiteY6-158" fmla="*/ 928695 h 1071524"/>
                  <a:gd name="connsiteX7-159" fmla="*/ 0 w 1857389"/>
                  <a:gd name="connsiteY7-160" fmla="*/ 928694 h 1071524"/>
                  <a:gd name="connsiteX0-161" fmla="*/ 0 w 1857389"/>
                  <a:gd name="connsiteY0-162" fmla="*/ 928694 h 1061948"/>
                  <a:gd name="connsiteX1-163" fmla="*/ 272009 w 1857389"/>
                  <a:gd name="connsiteY1-164" fmla="*/ 272008 h 1061948"/>
                  <a:gd name="connsiteX2-165" fmla="*/ 928695 w 1857389"/>
                  <a:gd name="connsiteY2-166" fmla="*/ 1 h 1061948"/>
                  <a:gd name="connsiteX3-167" fmla="*/ 1585381 w 1857389"/>
                  <a:gd name="connsiteY3-168" fmla="*/ 272010 h 1061948"/>
                  <a:gd name="connsiteX4-169" fmla="*/ 1857388 w 1857389"/>
                  <a:gd name="connsiteY4-170" fmla="*/ 928696 h 1061948"/>
                  <a:gd name="connsiteX5-171" fmla="*/ 928630 w 1857389"/>
                  <a:gd name="connsiteY5-172" fmla="*/ 714310 h 1061948"/>
                  <a:gd name="connsiteX6-173" fmla="*/ 0 w 1857389"/>
                  <a:gd name="connsiteY6-174" fmla="*/ 928695 h 1061948"/>
                  <a:gd name="connsiteX7-175" fmla="*/ 0 w 1857389"/>
                  <a:gd name="connsiteY7-176" fmla="*/ 928694 h 1061948"/>
                  <a:gd name="connsiteX0-177" fmla="*/ 0 w 1857389"/>
                  <a:gd name="connsiteY0-178" fmla="*/ 928694 h 1061948"/>
                  <a:gd name="connsiteX1-179" fmla="*/ 272009 w 1857389"/>
                  <a:gd name="connsiteY1-180" fmla="*/ 272008 h 1061948"/>
                  <a:gd name="connsiteX2-181" fmla="*/ 928695 w 1857389"/>
                  <a:gd name="connsiteY2-182" fmla="*/ 1 h 1061948"/>
                  <a:gd name="connsiteX3-183" fmla="*/ 1585381 w 1857389"/>
                  <a:gd name="connsiteY3-184" fmla="*/ 272010 h 1061948"/>
                  <a:gd name="connsiteX4-185" fmla="*/ 1857388 w 1857389"/>
                  <a:gd name="connsiteY4-186" fmla="*/ 928696 h 1061948"/>
                  <a:gd name="connsiteX5-187" fmla="*/ 928630 w 1857389"/>
                  <a:gd name="connsiteY5-188" fmla="*/ 714310 h 1061948"/>
                  <a:gd name="connsiteX6-189" fmla="*/ 0 w 1857389"/>
                  <a:gd name="connsiteY6-190" fmla="*/ 928695 h 1061948"/>
                  <a:gd name="connsiteX7-191" fmla="*/ 0 w 1857389"/>
                  <a:gd name="connsiteY7-192" fmla="*/ 928694 h 1061948"/>
                  <a:gd name="connsiteX0-193" fmla="*/ 0 w 1857389"/>
                  <a:gd name="connsiteY0-194" fmla="*/ 928694 h 1061948"/>
                  <a:gd name="connsiteX1-195" fmla="*/ 272009 w 1857389"/>
                  <a:gd name="connsiteY1-196" fmla="*/ 272008 h 1061948"/>
                  <a:gd name="connsiteX2-197" fmla="*/ 928695 w 1857389"/>
                  <a:gd name="connsiteY2-198" fmla="*/ 1 h 1061948"/>
                  <a:gd name="connsiteX3-199" fmla="*/ 1585381 w 1857389"/>
                  <a:gd name="connsiteY3-200" fmla="*/ 272010 h 1061948"/>
                  <a:gd name="connsiteX4-201" fmla="*/ 1857388 w 1857389"/>
                  <a:gd name="connsiteY4-202" fmla="*/ 928696 h 1061948"/>
                  <a:gd name="connsiteX5-203" fmla="*/ 928630 w 1857389"/>
                  <a:gd name="connsiteY5-204" fmla="*/ 714310 h 1061948"/>
                  <a:gd name="connsiteX6-205" fmla="*/ 0 w 1857389"/>
                  <a:gd name="connsiteY6-206" fmla="*/ 928695 h 1061948"/>
                  <a:gd name="connsiteX7-207" fmla="*/ 0 w 1857389"/>
                  <a:gd name="connsiteY7-208" fmla="*/ 928694 h 1061948"/>
                  <a:gd name="connsiteX0-209" fmla="*/ 0 w 1857389"/>
                  <a:gd name="connsiteY0-210" fmla="*/ 928694 h 1061948"/>
                  <a:gd name="connsiteX1-211" fmla="*/ 272009 w 1857389"/>
                  <a:gd name="connsiteY1-212" fmla="*/ 272008 h 1061948"/>
                  <a:gd name="connsiteX2-213" fmla="*/ 928695 w 1857389"/>
                  <a:gd name="connsiteY2-214" fmla="*/ 1 h 1061948"/>
                  <a:gd name="connsiteX3-215" fmla="*/ 1585381 w 1857389"/>
                  <a:gd name="connsiteY3-216" fmla="*/ 272010 h 1061948"/>
                  <a:gd name="connsiteX4-217" fmla="*/ 1857388 w 1857389"/>
                  <a:gd name="connsiteY4-218" fmla="*/ 928696 h 1061948"/>
                  <a:gd name="connsiteX5-219" fmla="*/ 928630 w 1857389"/>
                  <a:gd name="connsiteY5-220" fmla="*/ 714310 h 1061948"/>
                  <a:gd name="connsiteX6-221" fmla="*/ 0 w 1857389"/>
                  <a:gd name="connsiteY6-222" fmla="*/ 928695 h 1061948"/>
                  <a:gd name="connsiteX7-223" fmla="*/ 0 w 1857389"/>
                  <a:gd name="connsiteY7-224" fmla="*/ 928694 h 1061948"/>
                  <a:gd name="connsiteX0-225" fmla="*/ 0 w 1857389"/>
                  <a:gd name="connsiteY0-226" fmla="*/ 928694 h 1061948"/>
                  <a:gd name="connsiteX1-227" fmla="*/ 272009 w 1857389"/>
                  <a:gd name="connsiteY1-228" fmla="*/ 272008 h 1061948"/>
                  <a:gd name="connsiteX2-229" fmla="*/ 928695 w 1857389"/>
                  <a:gd name="connsiteY2-230" fmla="*/ 1 h 1061948"/>
                  <a:gd name="connsiteX3-231" fmla="*/ 1585381 w 1857389"/>
                  <a:gd name="connsiteY3-232" fmla="*/ 272010 h 1061948"/>
                  <a:gd name="connsiteX4-233" fmla="*/ 1857388 w 1857389"/>
                  <a:gd name="connsiteY4-234" fmla="*/ 928696 h 1061948"/>
                  <a:gd name="connsiteX5-235" fmla="*/ 928630 w 1857389"/>
                  <a:gd name="connsiteY5-236" fmla="*/ 714310 h 1061948"/>
                  <a:gd name="connsiteX6-237" fmla="*/ 0 w 1857389"/>
                  <a:gd name="connsiteY6-238" fmla="*/ 928695 h 1061948"/>
                  <a:gd name="connsiteX7-239" fmla="*/ 0 w 1857389"/>
                  <a:gd name="connsiteY7-240" fmla="*/ 928694 h 10619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1857389" h="1061948">
                    <a:moveTo>
                      <a:pt x="0" y="928694"/>
                    </a:moveTo>
                    <a:cubicBezTo>
                      <a:pt x="0" y="682389"/>
                      <a:pt x="97845" y="446172"/>
                      <a:pt x="272009" y="272008"/>
                    </a:cubicBezTo>
                    <a:cubicBezTo>
                      <a:pt x="446173" y="97844"/>
                      <a:pt x="682390" y="0"/>
                      <a:pt x="928695" y="1"/>
                    </a:cubicBezTo>
                    <a:cubicBezTo>
                      <a:pt x="1175000" y="1"/>
                      <a:pt x="1411217" y="97846"/>
                      <a:pt x="1585381" y="272010"/>
                    </a:cubicBezTo>
                    <a:cubicBezTo>
                      <a:pt x="1759545" y="446174"/>
                      <a:pt x="1857389" y="682391"/>
                      <a:pt x="1857388" y="928696"/>
                    </a:cubicBezTo>
                    <a:cubicBezTo>
                      <a:pt x="1747930" y="1061948"/>
                      <a:pt x="1490097" y="775634"/>
                      <a:pt x="928630" y="714310"/>
                    </a:cubicBezTo>
                    <a:cubicBezTo>
                      <a:pt x="401146" y="682484"/>
                      <a:pt x="202402" y="1023942"/>
                      <a:pt x="0" y="928695"/>
                    </a:cubicBezTo>
                    <a:lnTo>
                      <a:pt x="0" y="928694"/>
                    </a:lnTo>
                    <a:close/>
                  </a:path>
                </a:pathLst>
              </a:custGeom>
              <a:gradFill flip="none" rotWithShape="1">
                <a:gsLst>
                  <a:gs pos="0">
                    <a:schemeClr val="bg1">
                      <a:alpha val="16000"/>
                    </a:schemeClr>
                  </a:gs>
                  <a:gs pos="100000">
                    <a:schemeClr val="bg1">
                      <a:alpha val="77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5">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grpSp>
      </p:grpSp>
      <p:sp>
        <p:nvSpPr>
          <p:cNvPr id="161" name="Rectangle 93"/>
          <p:cNvSpPr>
            <a:spLocks noChangeArrowheads="1"/>
          </p:cNvSpPr>
          <p:nvPr/>
        </p:nvSpPr>
        <p:spPr bwMode="auto">
          <a:xfrm>
            <a:off x="1873681" y="1421771"/>
            <a:ext cx="709295" cy="29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algn="r" eaLnBrk="1" hangingPunct="1"/>
            <a:r>
              <a:rPr lang="en-US" altLang="zh-CN"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ontrol</a:t>
            </a:r>
            <a:endParaRPr lang="en-US" altLang="zh-CN"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62" name="TextBox 94"/>
          <p:cNvSpPr txBox="1">
            <a:spLocks noChangeArrowheads="1"/>
          </p:cNvSpPr>
          <p:nvPr/>
        </p:nvSpPr>
        <p:spPr bwMode="auto">
          <a:xfrm>
            <a:off x="379095" y="1742440"/>
            <a:ext cx="2204085" cy="1004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algn="l" eaLnBrk="1" hangingPunct="1">
              <a:lnSpc>
                <a:spcPct val="150000"/>
              </a:lnSpc>
            </a:pP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of background check initiated: 8582 </a:t>
            </a:r>
            <a:endPar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algn="l" eaLnBrk="1" hangingPunct="1">
              <a:lnSpc>
                <a:spcPct val="150000"/>
              </a:lnSpc>
            </a:pP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ost per background check: $30</a:t>
            </a:r>
            <a:endPar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algn="l" eaLnBrk="1" hangingPunct="1">
              <a:lnSpc>
                <a:spcPct val="150000"/>
              </a:lnSpc>
            </a:pP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First batch completed: 2678</a:t>
            </a:r>
            <a:endPar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algn="l" eaLnBrk="1" hangingPunct="1">
              <a:lnSpc>
                <a:spcPct val="150000"/>
              </a:lnSpc>
            </a:pPr>
            <a:r>
              <a:rPr lang="en-US" altLang="zh-CN" sz="1000" b="1"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Dollar efficiency: $96.14</a:t>
            </a:r>
            <a:endParaRPr lang="en-US" altLang="zh-CN" sz="1000" b="1"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cxnSp>
        <p:nvCxnSpPr>
          <p:cNvPr id="163" name="直接连接符 162"/>
          <p:cNvCxnSpPr/>
          <p:nvPr/>
        </p:nvCxnSpPr>
        <p:spPr>
          <a:xfrm>
            <a:off x="2274871" y="1743953"/>
            <a:ext cx="216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4" name="Rectangle 93"/>
          <p:cNvSpPr>
            <a:spLocks noChangeArrowheads="1"/>
          </p:cNvSpPr>
          <p:nvPr/>
        </p:nvSpPr>
        <p:spPr bwMode="auto">
          <a:xfrm>
            <a:off x="6561023" y="2455810"/>
            <a:ext cx="929640" cy="29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r>
              <a:rPr lang="en-US" altLang="zh-CN"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Treatment</a:t>
            </a:r>
            <a:endParaRPr lang="en-US" altLang="zh-CN"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65" name="TextBox 94"/>
          <p:cNvSpPr txBox="1">
            <a:spLocks noChangeArrowheads="1"/>
          </p:cNvSpPr>
          <p:nvPr/>
        </p:nvSpPr>
        <p:spPr bwMode="auto">
          <a:xfrm>
            <a:off x="6560820" y="2776855"/>
            <a:ext cx="2201545" cy="1004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algn="l" eaLnBrk="1" hangingPunct="1">
              <a:lnSpc>
                <a:spcPct val="150000"/>
              </a:lnSpc>
            </a:pP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of background check initiated: 4958 </a:t>
            </a:r>
            <a:endPar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algn="l" eaLnBrk="1" hangingPunct="1">
              <a:lnSpc>
                <a:spcPct val="150000"/>
              </a:lnSpc>
            </a:pP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ost per background check: $30</a:t>
            </a:r>
            <a:endPar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algn="l" eaLnBrk="1" hangingPunct="1">
              <a:lnSpc>
                <a:spcPct val="150000"/>
              </a:lnSpc>
            </a:pP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First batch completed: 2115</a:t>
            </a:r>
            <a:endPar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algn="l" eaLnBrk="1" hangingPunct="1">
              <a:lnSpc>
                <a:spcPct val="150000"/>
              </a:lnSpc>
            </a:pPr>
            <a:r>
              <a:rPr lang="en-US" altLang="zh-CN" sz="1000" b="1"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Dollar efficiency: $70.33</a:t>
            </a:r>
            <a:endParaRPr lang="en-US" altLang="zh-CN" sz="1000" b="1"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cxnSp>
        <p:nvCxnSpPr>
          <p:cNvPr id="166" name="直接连接符 165"/>
          <p:cNvCxnSpPr/>
          <p:nvPr/>
        </p:nvCxnSpPr>
        <p:spPr>
          <a:xfrm>
            <a:off x="6653127" y="2785026"/>
            <a:ext cx="216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7" name="Rectangle 93"/>
          <p:cNvSpPr>
            <a:spLocks noChangeArrowheads="1"/>
          </p:cNvSpPr>
          <p:nvPr/>
        </p:nvSpPr>
        <p:spPr bwMode="auto">
          <a:xfrm>
            <a:off x="448448" y="202115"/>
            <a:ext cx="1671320" cy="573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r>
              <a:rPr lang="en-US" altLang="zh-CN" sz="1600" b="1" dirty="0">
                <a:solidFill>
                  <a:schemeClr val="tx2"/>
                </a:solidFill>
                <a:latin typeface="Calibri" panose="020F0502020204030204" pitchFamily="34" charset="0"/>
                <a:ea typeface="Calibri" panose="020F0502020204030204" pitchFamily="34" charset="0"/>
                <a:sym typeface="Calibri" panose="020F0502020204030204" pitchFamily="34" charset="0"/>
              </a:rPr>
              <a:t>Cost Effectiveness</a:t>
            </a:r>
            <a:r>
              <a:rPr lang="zh-CN" altLang="en-US" sz="1600" b="1" dirty="0">
                <a:solidFill>
                  <a:schemeClr val="tx2"/>
                </a:solidFill>
                <a:latin typeface="Calibri" panose="020F0502020204030204" pitchFamily="34" charset="0"/>
                <a:ea typeface="Calibri" panose="020F0502020204030204" pitchFamily="34" charset="0"/>
                <a:sym typeface="Calibri" panose="020F0502020204030204" pitchFamily="34" charset="0"/>
              </a:rPr>
              <a:t>
</a:t>
            </a:r>
            <a:endParaRPr lang="en-US" altLang="zh-CN" sz="1600" b="1" dirty="0">
              <a:solidFill>
                <a:schemeClr val="tx2"/>
              </a:solidFill>
              <a:latin typeface="Calibri" panose="020F0502020204030204" pitchFamily="34" charset="0"/>
              <a:ea typeface="Calibri" panose="020F0502020204030204" pitchFamily="34" charset="0"/>
              <a:sym typeface="Calibri" panose="020F0502020204030204" pitchFamily="34" charset="0"/>
            </a:endParaRPr>
          </a:p>
        </p:txBody>
      </p:sp>
      <p:sp>
        <p:nvSpPr>
          <p:cNvPr id="168" name="TextBox 94"/>
          <p:cNvSpPr txBox="1">
            <a:spLocks noChangeArrowheads="1"/>
          </p:cNvSpPr>
          <p:nvPr/>
        </p:nvSpPr>
        <p:spPr bwMode="auto">
          <a:xfrm>
            <a:off x="448448" y="424809"/>
            <a:ext cx="2974462" cy="311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lnSpc>
                <a:spcPct val="150000"/>
              </a:lnSpc>
            </a:pPr>
            <a:r>
              <a:rPr lang="en-US" altLang="zh-CN" sz="1000" dirty="0">
                <a:latin typeface="Calibri" panose="020F0502020204030204" pitchFamily="34" charset="0"/>
                <a:ea typeface="Calibri" panose="020F0502020204030204" pitchFamily="34" charset="0"/>
                <a:sym typeface="Calibri" panose="020F0502020204030204" pitchFamily="34" charset="0"/>
              </a:rPr>
              <a:t>Is this change worth it?</a:t>
            </a:r>
            <a:endParaRPr lang="en-US" altLang="zh-CN" sz="1000" dirty="0">
              <a:latin typeface="Calibri" panose="020F0502020204030204" pitchFamily="34" charset="0"/>
              <a:ea typeface="Calibri" panose="020F0502020204030204" pitchFamily="34" charset="0"/>
              <a:sym typeface="Calibri" panose="020F0502020204030204" pitchFamily="34" charset="0"/>
            </a:endParaRPr>
          </a:p>
        </p:txBody>
      </p:sp>
      <p:cxnSp>
        <p:nvCxnSpPr>
          <p:cNvPr id="169" name="直接连接符 168"/>
          <p:cNvCxnSpPr/>
          <p:nvPr/>
        </p:nvCxnSpPr>
        <p:spPr>
          <a:xfrm>
            <a:off x="544244" y="770274"/>
            <a:ext cx="3273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 name="Curved Connector 1"/>
          <p:cNvCxnSpPr>
            <a:stCxn id="11" idx="0"/>
            <a:endCxn id="171" idx="2"/>
          </p:cNvCxnSpPr>
          <p:nvPr/>
        </p:nvCxnSpPr>
        <p:spPr>
          <a:xfrm rot="16200000">
            <a:off x="3758565" y="464820"/>
            <a:ext cx="744220" cy="1616710"/>
          </a:xfrm>
          <a:prstGeom prst="curvedConnector2">
            <a:avLst/>
          </a:prstGeom>
          <a:ln w="6350" cap="flat" cmpd="sng" algn="ctr">
            <a:solidFill>
              <a:schemeClr val="accent1"/>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sp>
        <p:nvSpPr>
          <p:cNvPr id="171" name="Snip Diagonal Corner Rectangle 170"/>
          <p:cNvSpPr/>
          <p:nvPr/>
        </p:nvSpPr>
        <p:spPr>
          <a:xfrm>
            <a:off x="4939030" y="239395"/>
            <a:ext cx="3572510" cy="1322705"/>
          </a:xfrm>
          <a:prstGeom prst="snip2DiagRect">
            <a:avLst/>
          </a:prstGeom>
          <a:ln>
            <a:noFill/>
          </a:ln>
        </p:spPr>
        <p:style>
          <a:lnRef idx="2">
            <a:schemeClr val="accent1"/>
          </a:lnRef>
          <a:fillRef idx="0">
            <a:srgbClr val="FFFFFF"/>
          </a:fillRef>
          <a:effectRef idx="0">
            <a:srgbClr val="FFFFFF"/>
          </a:effectRef>
          <a:fontRef idx="minor">
            <a:schemeClr val="tx1"/>
          </a:fontRef>
        </p:style>
        <p:txBody>
          <a:bodyPr rtlCol="0" anchor="ctr"/>
          <a:p>
            <a:pPr algn="l"/>
            <a:r>
              <a:rPr lang="en-US" sz="1000">
                <a:ln>
                  <a:noFill/>
                </a:ln>
              </a:rPr>
              <a:t>Here we use dollar efficiency to measure cost effectiveness. </a:t>
            </a:r>
            <a:r>
              <a:rPr lang="en-US" sz="1000">
                <a:ln>
                  <a:noFill/>
                </a:ln>
                <a:solidFill>
                  <a:srgbClr val="E87800"/>
                </a:solidFill>
              </a:rPr>
              <a:t>Dollar efficiency</a:t>
            </a:r>
            <a:r>
              <a:rPr lang="en-US" sz="1000">
                <a:ln>
                  <a:noFill/>
                </a:ln>
              </a:rPr>
              <a:t> refers to the </a:t>
            </a:r>
            <a:r>
              <a:rPr lang="en-US" sz="1000">
                <a:ln>
                  <a:noFill/>
                </a:ln>
                <a:solidFill>
                  <a:srgbClr val="E87800"/>
                </a:solidFill>
              </a:rPr>
              <a:t>average cost needed for one conversion</a:t>
            </a:r>
            <a:r>
              <a:rPr lang="en-US" sz="1000">
                <a:ln>
                  <a:noFill/>
                </a:ln>
              </a:rPr>
              <a:t>, which is the number of background checks initiated multiplied by the cost per background check, divided by the number of people who completed the first batch.</a:t>
            </a:r>
            <a:endParaRPr lang="en-US" sz="1000">
              <a:ln>
                <a:noFill/>
              </a:ln>
            </a:endParaRPr>
          </a:p>
        </p:txBody>
      </p:sp>
      <p:cxnSp>
        <p:nvCxnSpPr>
          <p:cNvPr id="173" name="Curved Connector 172"/>
          <p:cNvCxnSpPr>
            <a:stCxn id="15" idx="6"/>
            <a:endCxn id="171" idx="1"/>
          </p:cNvCxnSpPr>
          <p:nvPr/>
        </p:nvCxnSpPr>
        <p:spPr>
          <a:xfrm flipV="1">
            <a:off x="6270625" y="1562100"/>
            <a:ext cx="454660" cy="1338580"/>
          </a:xfrm>
          <a:prstGeom prst="curvedConnector2">
            <a:avLst/>
          </a:prstGeom>
          <a:ln w="6350" cap="flat" cmpd="sng" algn="ctr">
            <a:solidFill>
              <a:schemeClr val="accent1"/>
            </a:solidFill>
            <a:prstDash val="dash"/>
            <a:miter lim="800000"/>
            <a:tailEnd type="arrow" w="med" len="med"/>
          </a:ln>
        </p:spPr>
        <p:style>
          <a:lnRef idx="0">
            <a:schemeClr val="accent1"/>
          </a:lnRef>
          <a:fillRef idx="0">
            <a:srgbClr val="FFFFFF"/>
          </a:fillRef>
          <a:effectRef idx="0">
            <a:srgbClr val="FFFFFF"/>
          </a:effectRef>
          <a:fontRef idx="minor">
            <a:schemeClr val="tx1"/>
          </a:fontRef>
        </p:style>
      </p:cxnSp>
      <p:sp>
        <p:nvSpPr>
          <p:cNvPr id="175" name="Text Box 174"/>
          <p:cNvSpPr txBox="1"/>
          <p:nvPr/>
        </p:nvSpPr>
        <p:spPr>
          <a:xfrm>
            <a:off x="0" y="3657600"/>
            <a:ext cx="3180715" cy="1428750"/>
          </a:xfrm>
          <a:prstGeom prst="rect">
            <a:avLst/>
          </a:prstGeom>
          <a:noFill/>
        </p:spPr>
        <p:txBody>
          <a:bodyPr wrap="square" rtlCol="0">
            <a:noAutofit/>
          </a:bodyPr>
          <a:p>
            <a:r>
              <a:rPr lang="en-US" sz="1000"/>
              <a:t>We can see that the dollar efficiency for control group is larger than that for treatment group ($96.14 vs. $70.33). That means for each conversion, Instacart need to spent more money if they keep using their existed hiring process. They could </a:t>
            </a:r>
            <a:r>
              <a:rPr lang="en-US" sz="1000" b="1">
                <a:solidFill>
                  <a:srgbClr val="000000"/>
                </a:solidFill>
              </a:rPr>
              <a:t>save $25.81</a:t>
            </a:r>
            <a:r>
              <a:rPr lang="en-US" sz="1000"/>
              <a:t> for each conversion by initiating background check earlier in hiring process.</a:t>
            </a:r>
            <a:endParaRPr lang="en-US" sz="1000"/>
          </a:p>
          <a:p>
            <a:endParaRPr lang="en-US" sz="1000"/>
          </a:p>
          <a:p>
            <a:r>
              <a:rPr lang="en-US" sz="1000"/>
              <a:t>Therefore, we conclude that </a:t>
            </a:r>
            <a:r>
              <a:rPr lang="en-US" sz="1000" b="1">
                <a:solidFill>
                  <a:srgbClr val="000000"/>
                </a:solidFill>
              </a:rPr>
              <a:t>the change is cost-effective.</a:t>
            </a:r>
            <a:endParaRPr lang="en-US" sz="1000" b="1">
              <a:solidFill>
                <a:srgbClr val="000000"/>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30"/>
          <p:cNvSpPr/>
          <p:nvPr/>
        </p:nvSpPr>
        <p:spPr bwMode="auto">
          <a:xfrm>
            <a:off x="577973" y="1011810"/>
            <a:ext cx="573881" cy="57388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505"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9" name="Oval 89"/>
          <p:cNvSpPr/>
          <p:nvPr/>
        </p:nvSpPr>
        <p:spPr bwMode="auto">
          <a:xfrm>
            <a:off x="577775" y="2443019"/>
            <a:ext cx="573881" cy="573881"/>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505"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20" name="Oval 92"/>
          <p:cNvSpPr/>
          <p:nvPr/>
        </p:nvSpPr>
        <p:spPr bwMode="auto">
          <a:xfrm>
            <a:off x="577775" y="3672233"/>
            <a:ext cx="573881" cy="573881"/>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505"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24" name="Rectangle 93"/>
          <p:cNvSpPr>
            <a:spLocks noChangeArrowheads="1"/>
          </p:cNvSpPr>
          <p:nvPr/>
        </p:nvSpPr>
        <p:spPr bwMode="auto">
          <a:xfrm>
            <a:off x="1215275" y="961787"/>
            <a:ext cx="1931670" cy="511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r>
              <a:rPr lang="en-US" altLang="zh-CN"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Job-Search-Site Channel</a:t>
            </a:r>
            <a:r>
              <a:rPr lang="zh-CN" altLang="en-US"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endParaRPr lang="en-US" altLang="zh-CN"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25" name="TextBox 94"/>
          <p:cNvSpPr txBox="1">
            <a:spLocks noChangeArrowheads="1"/>
          </p:cNvSpPr>
          <p:nvPr/>
        </p:nvSpPr>
        <p:spPr bwMode="auto">
          <a:xfrm>
            <a:off x="1215275" y="1298430"/>
            <a:ext cx="2799260" cy="115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lnSpc>
                <a:spcPct val="100000"/>
              </a:lnSpc>
            </a:pP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This channel has the lowest conversion rate in control group but has the highest improvement after treatment. Instacart should consider improving the quality of its recruitment page (e.g. more specific job descriptions, neater formatting) to attract more candidates to apply through this channel.</a:t>
            </a:r>
            <a:endPar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cxnSp>
        <p:nvCxnSpPr>
          <p:cNvPr id="26" name="直接连接符 25"/>
          <p:cNvCxnSpPr/>
          <p:nvPr/>
        </p:nvCxnSpPr>
        <p:spPr>
          <a:xfrm>
            <a:off x="1300394" y="1261158"/>
            <a:ext cx="216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ectangle 93"/>
          <p:cNvSpPr>
            <a:spLocks noChangeArrowheads="1"/>
          </p:cNvSpPr>
          <p:nvPr/>
        </p:nvSpPr>
        <p:spPr bwMode="auto">
          <a:xfrm>
            <a:off x="1215275" y="2405566"/>
            <a:ext cx="1760220" cy="29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r>
              <a:rPr lang="en-US" altLang="zh-CN"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Social-Media Channel</a:t>
            </a:r>
            <a:endParaRPr lang="en-US" altLang="zh-CN"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28" name="TextBox 94"/>
          <p:cNvSpPr txBox="1">
            <a:spLocks noChangeArrowheads="1"/>
          </p:cNvSpPr>
          <p:nvPr/>
        </p:nvSpPr>
        <p:spPr bwMode="auto">
          <a:xfrm>
            <a:off x="1215275" y="2736494"/>
            <a:ext cx="2799260" cy="850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lnSpc>
                <a:spcPct val="100000"/>
              </a:lnSpc>
            </a:pP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onversion rate does not improve much with the change. Instacart should </a:t>
            </a:r>
            <a:r>
              <a:rPr lang="en-US" altLang="zh-CN" sz="1000" dirty="0">
                <a:solidFill>
                  <a:srgbClr val="E878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evaluate the ROI</a:t>
            </a: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to see whether it is cost-effective to invest in this channel. If not lower the budget of paid advertising in this part.</a:t>
            </a:r>
            <a:endPar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cxnSp>
        <p:nvCxnSpPr>
          <p:cNvPr id="29" name="直接连接符 28"/>
          <p:cNvCxnSpPr/>
          <p:nvPr/>
        </p:nvCxnSpPr>
        <p:spPr>
          <a:xfrm>
            <a:off x="1300394" y="2716367"/>
            <a:ext cx="216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Rectangle 93"/>
          <p:cNvSpPr>
            <a:spLocks noChangeArrowheads="1"/>
          </p:cNvSpPr>
          <p:nvPr/>
        </p:nvSpPr>
        <p:spPr bwMode="auto">
          <a:xfrm>
            <a:off x="1215275" y="3651766"/>
            <a:ext cx="1637665" cy="511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r>
              <a:rPr lang="en-US" altLang="zh-CN"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Orientation Options</a:t>
            </a:r>
            <a:r>
              <a:rPr lang="zh-CN" altLang="en-US"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endParaRPr lang="en-US" altLang="zh-CN" sz="1400" b="1" dirty="0">
              <a:solidFill>
                <a:schemeClr val="tx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1" name="TextBox 94"/>
          <p:cNvSpPr txBox="1">
            <a:spLocks noChangeArrowheads="1"/>
          </p:cNvSpPr>
          <p:nvPr/>
        </p:nvSpPr>
        <p:spPr bwMode="auto">
          <a:xfrm>
            <a:off x="1215275" y="4044289"/>
            <a:ext cx="279926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lnSpc>
                <a:spcPct val="100000"/>
              </a:lnSpc>
            </a:pP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Instacart could conduct an A/B Test on whether </a:t>
            </a:r>
            <a:r>
              <a:rPr lang="en-US" altLang="zh-CN" sz="1000" dirty="0">
                <a:solidFill>
                  <a:srgbClr val="E878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mandatory orientation</a:t>
            </a:r>
            <a:r>
              <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can improve conversion rate. </a:t>
            </a:r>
            <a:endParaRPr lang="en-US" altLang="zh-CN" sz="100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cxnSp>
        <p:nvCxnSpPr>
          <p:cNvPr id="32" name="直接连接符 31"/>
          <p:cNvCxnSpPr/>
          <p:nvPr/>
        </p:nvCxnSpPr>
        <p:spPr>
          <a:xfrm>
            <a:off x="1300393" y="3959392"/>
            <a:ext cx="216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93"/>
          <p:cNvSpPr>
            <a:spLocks noChangeArrowheads="1"/>
          </p:cNvSpPr>
          <p:nvPr/>
        </p:nvSpPr>
        <p:spPr bwMode="auto">
          <a:xfrm>
            <a:off x="448448" y="202115"/>
            <a:ext cx="3263900"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algn="l" eaLnBrk="1" hangingPunct="1"/>
            <a:r>
              <a:rPr lang="en-US" altLang="zh-CN" sz="1600" b="1" dirty="0">
                <a:solidFill>
                  <a:schemeClr val="tx2"/>
                </a:solidFill>
                <a:latin typeface="Calibri" panose="020F0502020204030204" pitchFamily="34" charset="0"/>
                <a:ea typeface="Calibri" panose="020F0502020204030204" pitchFamily="34" charset="0"/>
                <a:sym typeface="Calibri" panose="020F0502020204030204" pitchFamily="34" charset="0"/>
              </a:rPr>
              <a:t>Observations and Recommendations</a:t>
            </a:r>
            <a:endParaRPr lang="en-US" altLang="zh-CN" sz="1600" b="1" dirty="0">
              <a:solidFill>
                <a:schemeClr val="tx2"/>
              </a:solidFill>
              <a:latin typeface="Calibri" panose="020F0502020204030204" pitchFamily="34" charset="0"/>
              <a:ea typeface="Calibri" panose="020F0502020204030204" pitchFamily="34" charset="0"/>
              <a:sym typeface="Calibri" panose="020F0502020204030204" pitchFamily="34" charset="0"/>
            </a:endParaRPr>
          </a:p>
        </p:txBody>
      </p:sp>
      <p:sp>
        <p:nvSpPr>
          <p:cNvPr id="34" name="TextBox 94"/>
          <p:cNvSpPr txBox="1">
            <a:spLocks noChangeArrowheads="1"/>
          </p:cNvSpPr>
          <p:nvPr/>
        </p:nvSpPr>
        <p:spPr bwMode="auto">
          <a:xfrm>
            <a:off x="448448" y="424809"/>
            <a:ext cx="2974462" cy="300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282" tIns="41141" rIns="82282" bIns="41141">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530" eaLnBrk="0" fontAlgn="base" hangingPunct="0">
              <a:spcBef>
                <a:spcPct val="0"/>
              </a:spcBef>
              <a:spcAft>
                <a:spcPct val="0"/>
              </a:spcAft>
              <a:defRPr sz="3600">
                <a:solidFill>
                  <a:schemeClr val="tx1"/>
                </a:solidFill>
                <a:latin typeface="Lato Light" charset="0"/>
                <a:ea typeface="MS PGothic" panose="020B0600070205080204" pitchFamily="34" charset="-128"/>
              </a:defRPr>
            </a:lvl9pPr>
          </a:lstStyle>
          <a:p>
            <a:pPr eaLnBrk="1" hangingPunct="1">
              <a:lnSpc>
                <a:spcPct val="150000"/>
              </a:lnSpc>
            </a:pPr>
            <a:r>
              <a:rPr lang="en-US" altLang="zh-CN" sz="1000" dirty="0">
                <a:latin typeface="Calibri" panose="020F0502020204030204" pitchFamily="34" charset="0"/>
                <a:ea typeface="Calibri" panose="020F0502020204030204" pitchFamily="34" charset="0"/>
                <a:sym typeface="Calibri" panose="020F0502020204030204" pitchFamily="34" charset="0"/>
              </a:rPr>
              <a:t>We Help You Make You Report Easy And Fast!</a:t>
            </a:r>
            <a:endParaRPr lang="en-US" altLang="zh-CN" sz="1000" dirty="0">
              <a:latin typeface="Calibri" panose="020F0502020204030204" pitchFamily="34" charset="0"/>
              <a:ea typeface="Calibri" panose="020F0502020204030204" pitchFamily="34" charset="0"/>
              <a:sym typeface="Calibri" panose="020F0502020204030204" pitchFamily="34" charset="0"/>
            </a:endParaRPr>
          </a:p>
        </p:txBody>
      </p:sp>
      <p:cxnSp>
        <p:nvCxnSpPr>
          <p:cNvPr id="35" name="直接连接符 34"/>
          <p:cNvCxnSpPr/>
          <p:nvPr/>
        </p:nvCxnSpPr>
        <p:spPr>
          <a:xfrm>
            <a:off x="544244" y="770274"/>
            <a:ext cx="32734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1"/>
          <a:stretch>
            <a:fillRect/>
          </a:stretch>
        </p:blipFill>
        <p:spPr>
          <a:xfrm>
            <a:off x="4251960" y="1764030"/>
            <a:ext cx="4892040" cy="2148840"/>
          </a:xfrm>
          <a:prstGeom prst="rect">
            <a:avLst/>
          </a:prstGeom>
        </p:spPr>
      </p:pic>
      <p:cxnSp>
        <p:nvCxnSpPr>
          <p:cNvPr id="2" name="Straight Connector 1"/>
          <p:cNvCxnSpPr/>
          <p:nvPr/>
        </p:nvCxnSpPr>
        <p:spPr>
          <a:xfrm flipV="1">
            <a:off x="4319905" y="3016885"/>
            <a:ext cx="4735195" cy="3175"/>
          </a:xfrm>
          <a:prstGeom prst="line">
            <a:avLst/>
          </a:prstGeom>
          <a:ln>
            <a:solidFill>
              <a:srgbClr val="000000"/>
            </a:solidFill>
          </a:ln>
        </p:spPr>
        <p:style>
          <a:lnRef idx="2">
            <a:schemeClr val="accent1"/>
          </a:lnRef>
          <a:fillRef idx="0">
            <a:srgbClr val="FFFFFF"/>
          </a:fillRef>
          <a:effectRef idx="0">
            <a:srgbClr val="FFFFFF"/>
          </a:effectRef>
          <a:fontRef idx="minor">
            <a:schemeClr val="tx1"/>
          </a:fontRef>
        </p:style>
      </p:cxnSp>
      <p:sp>
        <p:nvSpPr>
          <p:cNvPr id="4" name="Rounded Rectangle 3"/>
          <p:cNvSpPr/>
          <p:nvPr/>
        </p:nvSpPr>
        <p:spPr>
          <a:xfrm>
            <a:off x="8496300" y="2148205"/>
            <a:ext cx="577850" cy="1725930"/>
          </a:xfrm>
          <a:prstGeom prst="roundRect">
            <a:avLst/>
          </a:prstGeom>
          <a:ln w="6350" cap="flat" cmpd="sng" algn="ctr">
            <a:solidFill>
              <a:srgbClr val="FF0000"/>
            </a:solidFill>
            <a:prstDash val="dash"/>
            <a:miter lim="800000"/>
          </a:ln>
        </p:spPr>
        <p:style>
          <a:lnRef idx="0">
            <a:schemeClr val="accent1"/>
          </a:lnRef>
          <a:fillRef idx="0">
            <a:srgbClr val="FFFFFF"/>
          </a:fillRef>
          <a:effectRef idx="0">
            <a:srgbClr val="FFFFFF"/>
          </a:effectRef>
          <a:fontRef idx="minor">
            <a:schemeClr val="tx1"/>
          </a:fontRef>
        </p:style>
        <p:txBody>
          <a:bodyPr rtlCol="0" anchor="ctr"/>
          <a:p>
            <a:pPr algn="ctr"/>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11"/>
          <p:cNvSpPr txBox="1"/>
          <p:nvPr/>
        </p:nvSpPr>
        <p:spPr>
          <a:xfrm>
            <a:off x="600561" y="1990792"/>
            <a:ext cx="3593465" cy="1170940"/>
          </a:xfrm>
          <a:prstGeom prst="rect">
            <a:avLst/>
          </a:prstGeom>
          <a:noFill/>
        </p:spPr>
        <p:txBody>
          <a:bodyPr wrap="none" rtlCol="0">
            <a:spAutoFit/>
          </a:bodyPr>
          <a:lstStyle/>
          <a:p>
            <a:pPr>
              <a:lnSpc>
                <a:spcPct val="130000"/>
              </a:lnSpc>
            </a:pPr>
            <a:r>
              <a:rPr lang="en-US" altLang="zh-CN" sz="5400" b="1" dirty="0">
                <a:solidFill>
                  <a:schemeClr val="tx2"/>
                </a:solidFill>
                <a:ea typeface="Calibri" panose="020F0502020204030204" pitchFamily="34" charset="0"/>
                <a:cs typeface="Calibri" panose="020F0502020204030204" pitchFamily="34" charset="0"/>
                <a:sym typeface="+mn-lt"/>
              </a:rPr>
              <a:t>THANK YOU</a:t>
            </a:r>
            <a:endParaRPr lang="en-US" altLang="zh-CN" sz="5400" b="1" dirty="0">
              <a:solidFill>
                <a:schemeClr val="tx2"/>
              </a:solidFill>
              <a:ea typeface="Calibri" panose="020F0502020204030204" pitchFamily="34" charset="0"/>
              <a:cs typeface="Calibri" panose="020F0502020204030204" pitchFamily="34" charset="0"/>
              <a:sym typeface="+mn-lt"/>
            </a:endParaRPr>
          </a:p>
        </p:txBody>
      </p:sp>
      <p:sp>
        <p:nvSpPr>
          <p:cNvPr id="14" name="Line 21"/>
          <p:cNvSpPr>
            <a:spLocks noChangeShapeType="1"/>
          </p:cNvSpPr>
          <p:nvPr/>
        </p:nvSpPr>
        <p:spPr bwMode="auto">
          <a:xfrm>
            <a:off x="705813" y="3161365"/>
            <a:ext cx="385163" cy="0"/>
          </a:xfrm>
          <a:prstGeom prst="line">
            <a:avLst/>
          </a:prstGeom>
          <a:noFill/>
          <a:ln w="127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lnSpc>
                <a:spcPct val="130000"/>
              </a:lnSpc>
              <a:spcBef>
                <a:spcPct val="0"/>
              </a:spcBef>
              <a:spcAft>
                <a:spcPct val="0"/>
              </a:spcAft>
            </a:pPr>
            <a:endParaRPr lang="zh-CN" altLang="en-US" sz="1800">
              <a:ln>
                <a:solidFill>
                  <a:schemeClr val="tx1">
                    <a:lumMod val="75000"/>
                    <a:lumOff val="25000"/>
                  </a:schemeClr>
                </a:solidFill>
              </a:ln>
              <a:solidFill>
                <a:schemeClr val="tx2"/>
              </a:solidFill>
              <a:ea typeface="Calibri" panose="020F0502020204030204" pitchFamily="34" charset="0"/>
              <a:cs typeface="Calibri" panose="020F0502020204030204" pitchFamily="34" charset="0"/>
              <a:sym typeface="+mn-lt"/>
            </a:endParaRPr>
          </a:p>
        </p:txBody>
      </p:sp>
      <p:pic>
        <p:nvPicPr>
          <p:cNvPr id="101" name="Picture 100"/>
          <p:cNvPicPr/>
          <p:nvPr/>
        </p:nvPicPr>
        <p:blipFill>
          <a:blip r:embed="rId1"/>
          <a:stretch>
            <a:fillRect/>
          </a:stretch>
        </p:blipFill>
        <p:spPr>
          <a:xfrm>
            <a:off x="618490" y="79375"/>
            <a:ext cx="2277110" cy="1661795"/>
          </a:xfrm>
          <a:prstGeom prst="rect">
            <a:avLst/>
          </a:prstGeom>
          <a:noFill/>
          <a:ln w="9525">
            <a:noFill/>
          </a:ln>
        </p:spPr>
      </p:pic>
    </p:spTree>
  </p:cSld>
  <p:clrMapOvr>
    <a:masterClrMapping/>
  </p:clrMapOvr>
</p:sld>
</file>

<file path=ppt/tags/tag1.xml><?xml version="1.0" encoding="utf-8"?>
<p:tagLst xmlns:p="http://schemas.openxmlformats.org/presentationml/2006/main">
  <p:tag name="THINKCELLSHAPEDONOTDELETE" val="p1Jv6AIKh7U6O8qmpraQJdg"/>
</p:tagLst>
</file>

<file path=ppt/tags/tag10.xml><?xml version="1.0" encoding="utf-8"?>
<p:tagLst xmlns:p="http://schemas.openxmlformats.org/presentationml/2006/main">
  <p:tag name="THINKCELLSHAPEDONOTDELETE" val="pqeSsNuXkBUiWntMBXzB3dw"/>
</p:tagLst>
</file>

<file path=ppt/tags/tag100.xml><?xml version="1.0" encoding="utf-8"?>
<p:tagLst xmlns:p="http://schemas.openxmlformats.org/presentationml/2006/main">
  <p:tag name="THINKCELLSHAPEDONOTDELETE" val="pcrep88aWRUa9egWkfvpXtA"/>
</p:tagLst>
</file>

<file path=ppt/tags/tag101.xml><?xml version="1.0" encoding="utf-8"?>
<p:tagLst xmlns:p="http://schemas.openxmlformats.org/presentationml/2006/main">
  <p:tag name="THINKCELLSHAPEDONOTDELETE" val="p4_2nRUpP7U2krh3v6.gMoQ"/>
</p:tagLst>
</file>

<file path=ppt/tags/tag102.xml><?xml version="1.0" encoding="utf-8"?>
<p:tagLst xmlns:p="http://schemas.openxmlformats.org/presentationml/2006/main">
  <p:tag name="THINKCELLSHAPEDONOTDELETE" val="p7jpO0XUE60Wq000vfuHdYA"/>
</p:tagLst>
</file>

<file path=ppt/tags/tag103.xml><?xml version="1.0" encoding="utf-8"?>
<p:tagLst xmlns:p="http://schemas.openxmlformats.org/presentationml/2006/main">
  <p:tag name="THINKCELLSHAPEDONOTDELETE" val="pFK443tXBlk28cYrPyaHpbA"/>
</p:tagLst>
</file>

<file path=ppt/tags/tag104.xml><?xml version="1.0" encoding="utf-8"?>
<p:tagLst xmlns:p="http://schemas.openxmlformats.org/presentationml/2006/main">
  <p:tag name="THINKCELLSHAPEDONOTDELETE" val="pfarjELSM1UKeTWx5Tv2Q3A"/>
</p:tagLst>
</file>

<file path=ppt/tags/tag105.xml><?xml version="1.0" encoding="utf-8"?>
<p:tagLst xmlns:p="http://schemas.openxmlformats.org/presentationml/2006/main">
  <p:tag name="THINKCELLSHAPEDONOTDELETE" val="pLNXRcwlY80CB89XA0T6v9A"/>
</p:tagLst>
</file>

<file path=ppt/tags/tag106.xml><?xml version="1.0" encoding="utf-8"?>
<p:tagLst xmlns:p="http://schemas.openxmlformats.org/presentationml/2006/main">
  <p:tag name="THINKCELLSHAPEDONOTDELETE" val="pEygtw6nn2EyzFqjwvykG1w"/>
</p:tagLst>
</file>

<file path=ppt/tags/tag107.xml><?xml version="1.0" encoding="utf-8"?>
<p:tagLst xmlns:p="http://schemas.openxmlformats.org/presentationml/2006/main">
  <p:tag name="THINKCELLSHAPEDONOTDELETE" val="pMXz9hkPr3ESvooPcBU9FWA"/>
</p:tagLst>
</file>

<file path=ppt/tags/tag108.xml><?xml version="1.0" encoding="utf-8"?>
<p:tagLst xmlns:p="http://schemas.openxmlformats.org/presentationml/2006/main">
  <p:tag name="THINKCELLSHAPEDONOTDELETE" val="pyZmSekkwC0antgiy2MaOFQ"/>
</p:tagLst>
</file>

<file path=ppt/tags/tag109.xml><?xml version="1.0" encoding="utf-8"?>
<p:tagLst xmlns:p="http://schemas.openxmlformats.org/presentationml/2006/main">
  <p:tag name="THINKCELLSHAPEDONOTDELETE" val="po.pMEYyJYEasb8Uox_Vbmw"/>
</p:tagLst>
</file>

<file path=ppt/tags/tag11.xml><?xml version="1.0" encoding="utf-8"?>
<p:tagLst xmlns:p="http://schemas.openxmlformats.org/presentationml/2006/main">
  <p:tag name="THINKCELLSHAPEDONOTDELETE" val="pPLOzBb5kfkGFxJGkNfSyIw"/>
</p:tagLst>
</file>

<file path=ppt/tags/tag110.xml><?xml version="1.0" encoding="utf-8"?>
<p:tagLst xmlns:p="http://schemas.openxmlformats.org/presentationml/2006/main">
  <p:tag name="THINKCELLSHAPEDONOTDELETE" val="pX1eDmLGSwEGgpmIebWRVuA"/>
</p:tagLst>
</file>

<file path=ppt/tags/tag111.xml><?xml version="1.0" encoding="utf-8"?>
<p:tagLst xmlns:p="http://schemas.openxmlformats.org/presentationml/2006/main">
  <p:tag name="THINKCELLSHAPEDONOTDELETE" val="pwnKJhuQED0GpzFQ26768yQ"/>
</p:tagLst>
</file>

<file path=ppt/tags/tag112.xml><?xml version="1.0" encoding="utf-8"?>
<p:tagLst xmlns:p="http://schemas.openxmlformats.org/presentationml/2006/main">
  <p:tag name="THINKCELLSHAPEDONOTDELETE" val="p_200JBd6eUG7TPQGJJlBOw"/>
</p:tagLst>
</file>

<file path=ppt/tags/tag113.xml><?xml version="1.0" encoding="utf-8"?>
<p:tagLst xmlns:p="http://schemas.openxmlformats.org/presentationml/2006/main">
  <p:tag name="THINKCELLSHAPEDONOTDELETE" val="pCDqB1JM2gEqnZ0kMfkCKsg"/>
</p:tagLst>
</file>

<file path=ppt/tags/tag114.xml><?xml version="1.0" encoding="utf-8"?>
<p:tagLst xmlns:p="http://schemas.openxmlformats.org/presentationml/2006/main">
  <p:tag name="THINKCELLSHAPEDONOTDELETE" val="prMdmDTSfd0qvbEoxFSay1Q"/>
</p:tagLst>
</file>

<file path=ppt/tags/tag115.xml><?xml version="1.0" encoding="utf-8"?>
<p:tagLst xmlns:p="http://schemas.openxmlformats.org/presentationml/2006/main">
  <p:tag name="THINKCELLSHAPEDONOTDELETE" val="pSWTrQE13xU.L5xUnKb3qDw"/>
</p:tagLst>
</file>

<file path=ppt/tags/tag116.xml><?xml version="1.0" encoding="utf-8"?>
<p:tagLst xmlns:p="http://schemas.openxmlformats.org/presentationml/2006/main">
  <p:tag name="THINKCELLSHAPEDONOTDELETE" val="p_YCrJppcvUWriWQWYbUJ5Q"/>
</p:tagLst>
</file>

<file path=ppt/tags/tag117.xml><?xml version="1.0" encoding="utf-8"?>
<p:tagLst xmlns:p="http://schemas.openxmlformats.org/presentationml/2006/main">
  <p:tag name="THINKCELLSHAPEDONOTDELETE" val="pypvDDh0BQ0at_WDWIzkqSQ"/>
</p:tagLst>
</file>

<file path=ppt/tags/tag118.xml><?xml version="1.0" encoding="utf-8"?>
<p:tagLst xmlns:p="http://schemas.openxmlformats.org/presentationml/2006/main">
  <p:tag name="THINKCELLSHAPEDONOTDELETE" val="p0bfs0w7phEiTb109X1So_w"/>
</p:tagLst>
</file>

<file path=ppt/tags/tag119.xml><?xml version="1.0" encoding="utf-8"?>
<p:tagLst xmlns:p="http://schemas.openxmlformats.org/presentationml/2006/main">
  <p:tag name="THINKCELLSHAPEDONOTDELETE" val="pCmSzS9ZBZ0anfHHK.E.WvA"/>
</p:tagLst>
</file>

<file path=ppt/tags/tag12.xml><?xml version="1.0" encoding="utf-8"?>
<p:tagLst xmlns:p="http://schemas.openxmlformats.org/presentationml/2006/main">
  <p:tag name="THINKCELLSHAPEDONOTDELETE" val="pnITNRhUx90qgTBJ996nknw"/>
</p:tagLst>
</file>

<file path=ppt/tags/tag120.xml><?xml version="1.0" encoding="utf-8"?>
<p:tagLst xmlns:p="http://schemas.openxmlformats.org/presentationml/2006/main">
  <p:tag name="THINKCELLSHAPEDONOTDELETE" val="pC8p1mt5g30qV2o5LvMoPmQ"/>
</p:tagLst>
</file>

<file path=ppt/tags/tag121.xml><?xml version="1.0" encoding="utf-8"?>
<p:tagLst xmlns:p="http://schemas.openxmlformats.org/presentationml/2006/main">
  <p:tag name="THINKCELLSHAPEDONOTDELETE" val="poUUCsdObSEaeUYtEo_XGgQ"/>
</p:tagLst>
</file>

<file path=ppt/tags/tag122.xml><?xml version="1.0" encoding="utf-8"?>
<p:tagLst xmlns:p="http://schemas.openxmlformats.org/presentationml/2006/main">
  <p:tag name="THINKCELLSHAPEDONOTDELETE" val="pBxcngT0InkK4PQxVN1AG1Q"/>
</p:tagLst>
</file>

<file path=ppt/tags/tag123.xml><?xml version="1.0" encoding="utf-8"?>
<p:tagLst xmlns:p="http://schemas.openxmlformats.org/presentationml/2006/main">
  <p:tag name="THINKCELLSHAPEDONOTDELETE" val="pRu5Brco01EKD6xfxHYknpg"/>
</p:tagLst>
</file>

<file path=ppt/tags/tag124.xml><?xml version="1.0" encoding="utf-8"?>
<p:tagLst xmlns:p="http://schemas.openxmlformats.org/presentationml/2006/main">
  <p:tag name="THINKCELLSHAPEDONOTDELETE" val="pa1.iI2nf30SraP3rye3W2w"/>
</p:tagLst>
</file>

<file path=ppt/tags/tag125.xml><?xml version="1.0" encoding="utf-8"?>
<p:tagLst xmlns:p="http://schemas.openxmlformats.org/presentationml/2006/main">
  <p:tag name="THINKCELLSHAPEDONOTDELETE" val="pu2.nLyx5ZUqaVaDjdIlc0Q"/>
</p:tagLst>
</file>

<file path=ppt/tags/tag126.xml><?xml version="1.0" encoding="utf-8"?>
<p:tagLst xmlns:p="http://schemas.openxmlformats.org/presentationml/2006/main">
  <p:tag name="THINKCELLSHAPEDONOTDELETE" val="p2BBndox9.UOsI1UYUcqZbw"/>
</p:tagLst>
</file>

<file path=ppt/tags/tag127.xml><?xml version="1.0" encoding="utf-8"?>
<p:tagLst xmlns:p="http://schemas.openxmlformats.org/presentationml/2006/main">
  <p:tag name="THINKCELLSHAPEDONOTDELETE" val="pSkE_aUhCQ0GOdfH37a7a2A"/>
</p:tagLst>
</file>

<file path=ppt/tags/tag128.xml><?xml version="1.0" encoding="utf-8"?>
<p:tagLst xmlns:p="http://schemas.openxmlformats.org/presentationml/2006/main">
  <p:tag name="THINKCELLSHAPEDONOTDELETE" val="p6Zmebcbe_UuSX.KyT6IB0g"/>
</p:tagLst>
</file>

<file path=ppt/tags/tag129.xml><?xml version="1.0" encoding="utf-8"?>
<p:tagLst xmlns:p="http://schemas.openxmlformats.org/presentationml/2006/main">
  <p:tag name="THINKCELLSHAPEDONOTDELETE" val="p0ClUm9QMXkyPKAeY14QNjQ"/>
</p:tagLst>
</file>

<file path=ppt/tags/tag13.xml><?xml version="1.0" encoding="utf-8"?>
<p:tagLst xmlns:p="http://schemas.openxmlformats.org/presentationml/2006/main">
  <p:tag name="THINKCELLSHAPEDONOTDELETE" val="p7M3f6i2fjkq0nli5pv6.Ow"/>
</p:tagLst>
</file>

<file path=ppt/tags/tag130.xml><?xml version="1.0" encoding="utf-8"?>
<p:tagLst xmlns:p="http://schemas.openxmlformats.org/presentationml/2006/main">
  <p:tag name="THINKCELLSHAPEDONOTDELETE" val="pMTgul203iE2Zmgxlx5c7ug"/>
</p:tagLst>
</file>

<file path=ppt/tags/tag131.xml><?xml version="1.0" encoding="utf-8"?>
<p:tagLst xmlns:p="http://schemas.openxmlformats.org/presentationml/2006/main">
  <p:tag name="THINKCELLSHAPEDONOTDELETE" val="pvltnCTOuUkaMvHrgimCX7w"/>
</p:tagLst>
</file>

<file path=ppt/tags/tag132.xml><?xml version="1.0" encoding="utf-8"?>
<p:tagLst xmlns:p="http://schemas.openxmlformats.org/presentationml/2006/main">
  <p:tag name="THINKCELLSHAPEDONOTDELETE" val="pm.ItrnwD00yPoVo2If73lQ"/>
</p:tagLst>
</file>

<file path=ppt/tags/tag14.xml><?xml version="1.0" encoding="utf-8"?>
<p:tagLst xmlns:p="http://schemas.openxmlformats.org/presentationml/2006/main">
  <p:tag name="THINKCELLSHAPEDONOTDELETE" val="pRcyB7z0x_kubUkxYNXm1RQ"/>
</p:tagLst>
</file>

<file path=ppt/tags/tag15.xml><?xml version="1.0" encoding="utf-8"?>
<p:tagLst xmlns:p="http://schemas.openxmlformats.org/presentationml/2006/main">
  <p:tag name="THINKCELLSHAPEDONOTDELETE" val="pqlrByH30gUiJx8RvSqv4wg"/>
</p:tagLst>
</file>

<file path=ppt/tags/tag16.xml><?xml version="1.0" encoding="utf-8"?>
<p:tagLst xmlns:p="http://schemas.openxmlformats.org/presentationml/2006/main">
  <p:tag name="THINKCELLSHAPEDONOTDELETE" val="pKOSaKSnB5kKg7ULz._BKSg"/>
</p:tagLst>
</file>

<file path=ppt/tags/tag17.xml><?xml version="1.0" encoding="utf-8"?>
<p:tagLst xmlns:p="http://schemas.openxmlformats.org/presentationml/2006/main">
  <p:tag name="THINKCELLSHAPEDONOTDELETE" val="ps_aolWZhfUyXnH8v51OYYQ"/>
</p:tagLst>
</file>

<file path=ppt/tags/tag18.xml><?xml version="1.0" encoding="utf-8"?>
<p:tagLst xmlns:p="http://schemas.openxmlformats.org/presentationml/2006/main">
  <p:tag name="THINKCELLSHAPEDONOTDELETE" val="pAwz1T9xs1kisjdWdw.RtIg"/>
</p:tagLst>
</file>

<file path=ppt/tags/tag19.xml><?xml version="1.0" encoding="utf-8"?>
<p:tagLst xmlns:p="http://schemas.openxmlformats.org/presentationml/2006/main">
  <p:tag name="THINKCELLSHAPEDONOTDELETE" val="pXECiNspSWEGTHnk.gJIinw"/>
</p:tagLst>
</file>

<file path=ppt/tags/tag2.xml><?xml version="1.0" encoding="utf-8"?>
<p:tagLst xmlns:p="http://schemas.openxmlformats.org/presentationml/2006/main">
  <p:tag name="THINKCELLSHAPEDONOTDELETE" val="pi_aPx.Kq206u_OKHId1BXQ"/>
</p:tagLst>
</file>

<file path=ppt/tags/tag20.xml><?xml version="1.0" encoding="utf-8"?>
<p:tagLst xmlns:p="http://schemas.openxmlformats.org/presentationml/2006/main">
  <p:tag name="THINKCELLSHAPEDONOTDELETE" val="p5pAYNli4vEic7jhI0LagrQ"/>
</p:tagLst>
</file>

<file path=ppt/tags/tag21.xml><?xml version="1.0" encoding="utf-8"?>
<p:tagLst xmlns:p="http://schemas.openxmlformats.org/presentationml/2006/main">
  <p:tag name="THINKCELLSHAPEDONOTDELETE" val="p3CLMiAf73EamGg4OZLsCHQ"/>
</p:tagLst>
</file>

<file path=ppt/tags/tag22.xml><?xml version="1.0" encoding="utf-8"?>
<p:tagLst xmlns:p="http://schemas.openxmlformats.org/presentationml/2006/main">
  <p:tag name="THINKCELLSHAPEDONOTDELETE" val="pSNCRgr45LEq3h8i8xNaiUg"/>
</p:tagLst>
</file>

<file path=ppt/tags/tag23.xml><?xml version="1.0" encoding="utf-8"?>
<p:tagLst xmlns:p="http://schemas.openxmlformats.org/presentationml/2006/main">
  <p:tag name="THINKCELLSHAPEDONOTDELETE" val="pbmxojwbRiUuWmUL3DwwZOw"/>
</p:tagLst>
</file>

<file path=ppt/tags/tag24.xml><?xml version="1.0" encoding="utf-8"?>
<p:tagLst xmlns:p="http://schemas.openxmlformats.org/presentationml/2006/main">
  <p:tag name="THINKCELLSHAPEDONOTDELETE" val="pok97VWahR0m9zAc5oAELPA"/>
</p:tagLst>
</file>

<file path=ppt/tags/tag25.xml><?xml version="1.0" encoding="utf-8"?>
<p:tagLst xmlns:p="http://schemas.openxmlformats.org/presentationml/2006/main">
  <p:tag name="THINKCELLSHAPEDONOTDELETE" val="pP6pu_eLkpEGPRDJKV0o_5w"/>
</p:tagLst>
</file>

<file path=ppt/tags/tag26.xml><?xml version="1.0" encoding="utf-8"?>
<p:tagLst xmlns:p="http://schemas.openxmlformats.org/presentationml/2006/main">
  <p:tag name="THINKCELLSHAPEDONOTDELETE" val="p5TO9UcJP9ka5asmiLeY_JQ"/>
</p:tagLst>
</file>

<file path=ppt/tags/tag27.xml><?xml version="1.0" encoding="utf-8"?>
<p:tagLst xmlns:p="http://schemas.openxmlformats.org/presentationml/2006/main">
  <p:tag name="THINKCELLSHAPEDONOTDELETE" val="pSqAXKLLohUyUofbopoROCg"/>
</p:tagLst>
</file>

<file path=ppt/tags/tag28.xml><?xml version="1.0" encoding="utf-8"?>
<p:tagLst xmlns:p="http://schemas.openxmlformats.org/presentationml/2006/main">
  <p:tag name="THINKCELLSHAPEDONOTDELETE" val="p9sSa8GL7TUCvUvEiQ57bYQ"/>
</p:tagLst>
</file>

<file path=ppt/tags/tag29.xml><?xml version="1.0" encoding="utf-8"?>
<p:tagLst xmlns:p="http://schemas.openxmlformats.org/presentationml/2006/main">
  <p:tag name="THINKCELLSHAPEDONOTDELETE" val="pE1yNkON1dk2l2nQHSvXuNg"/>
</p:tagLst>
</file>

<file path=ppt/tags/tag3.xml><?xml version="1.0" encoding="utf-8"?>
<p:tagLst xmlns:p="http://schemas.openxmlformats.org/presentationml/2006/main">
  <p:tag name="THINKCELLSHAPEDONOTDELETE" val="p_zKbZCjnTkWTy8QO_J4u4Q"/>
</p:tagLst>
</file>

<file path=ppt/tags/tag30.xml><?xml version="1.0" encoding="utf-8"?>
<p:tagLst xmlns:p="http://schemas.openxmlformats.org/presentationml/2006/main">
  <p:tag name="THINKCELLSHAPEDONOTDELETE" val="pju5870LW_kKT3H5TklvBXg"/>
</p:tagLst>
</file>

<file path=ppt/tags/tag31.xml><?xml version="1.0" encoding="utf-8"?>
<p:tagLst xmlns:p="http://schemas.openxmlformats.org/presentationml/2006/main">
  <p:tag name="THINKCELLSHAPEDONOTDELETE" val="pInkbaImDTEe.xI6CKMvDhw"/>
</p:tagLst>
</file>

<file path=ppt/tags/tag32.xml><?xml version="1.0" encoding="utf-8"?>
<p:tagLst xmlns:p="http://schemas.openxmlformats.org/presentationml/2006/main">
  <p:tag name="THINKCELLSHAPEDONOTDELETE" val="pst3fqyxR30WORw995J4EeA"/>
</p:tagLst>
</file>

<file path=ppt/tags/tag33.xml><?xml version="1.0" encoding="utf-8"?>
<p:tagLst xmlns:p="http://schemas.openxmlformats.org/presentationml/2006/main">
  <p:tag name="THINKCELLSHAPEDONOTDELETE" val="ppU15vzgV1E23kvrO9s5xIA"/>
</p:tagLst>
</file>

<file path=ppt/tags/tag34.xml><?xml version="1.0" encoding="utf-8"?>
<p:tagLst xmlns:p="http://schemas.openxmlformats.org/presentationml/2006/main">
  <p:tag name="THINKCELLSHAPEDONOTDELETE" val="pcrep88aWRUa9egWkfvpXtA"/>
</p:tagLst>
</file>

<file path=ppt/tags/tag35.xml><?xml version="1.0" encoding="utf-8"?>
<p:tagLst xmlns:p="http://schemas.openxmlformats.org/presentationml/2006/main">
  <p:tag name="THINKCELLSHAPEDONOTDELETE" val="p4_2nRUpP7U2krh3v6.gMoQ"/>
</p:tagLst>
</file>

<file path=ppt/tags/tag36.xml><?xml version="1.0" encoding="utf-8"?>
<p:tagLst xmlns:p="http://schemas.openxmlformats.org/presentationml/2006/main">
  <p:tag name="THINKCELLSHAPEDONOTDELETE" val="p7jpO0XUE60Wq000vfuHdYA"/>
</p:tagLst>
</file>

<file path=ppt/tags/tag37.xml><?xml version="1.0" encoding="utf-8"?>
<p:tagLst xmlns:p="http://schemas.openxmlformats.org/presentationml/2006/main">
  <p:tag name="THINKCELLSHAPEDONOTDELETE" val="pFK443tXBlk28cYrPyaHpbA"/>
</p:tagLst>
</file>

<file path=ppt/tags/tag38.xml><?xml version="1.0" encoding="utf-8"?>
<p:tagLst xmlns:p="http://schemas.openxmlformats.org/presentationml/2006/main">
  <p:tag name="THINKCELLSHAPEDONOTDELETE" val="pfarjELSM1UKeTWx5Tv2Q3A"/>
</p:tagLst>
</file>

<file path=ppt/tags/tag39.xml><?xml version="1.0" encoding="utf-8"?>
<p:tagLst xmlns:p="http://schemas.openxmlformats.org/presentationml/2006/main">
  <p:tag name="THINKCELLSHAPEDONOTDELETE" val="pLNXRcwlY80CB89XA0T6v9A"/>
</p:tagLst>
</file>

<file path=ppt/tags/tag4.xml><?xml version="1.0" encoding="utf-8"?>
<p:tagLst xmlns:p="http://schemas.openxmlformats.org/presentationml/2006/main">
  <p:tag name="THINKCELLSHAPEDONOTDELETE" val="pRnH6J9UTAkuynemDppDdJA"/>
</p:tagLst>
</file>

<file path=ppt/tags/tag40.xml><?xml version="1.0" encoding="utf-8"?>
<p:tagLst xmlns:p="http://schemas.openxmlformats.org/presentationml/2006/main">
  <p:tag name="THINKCELLSHAPEDONOTDELETE" val="pEygtw6nn2EyzFqjwvykG1w"/>
</p:tagLst>
</file>

<file path=ppt/tags/tag41.xml><?xml version="1.0" encoding="utf-8"?>
<p:tagLst xmlns:p="http://schemas.openxmlformats.org/presentationml/2006/main">
  <p:tag name="THINKCELLSHAPEDONOTDELETE" val="pMXz9hkPr3ESvooPcBU9FWA"/>
</p:tagLst>
</file>

<file path=ppt/tags/tag42.xml><?xml version="1.0" encoding="utf-8"?>
<p:tagLst xmlns:p="http://schemas.openxmlformats.org/presentationml/2006/main">
  <p:tag name="THINKCELLSHAPEDONOTDELETE" val="pyZmSekkwC0antgiy2MaOFQ"/>
</p:tagLst>
</file>

<file path=ppt/tags/tag43.xml><?xml version="1.0" encoding="utf-8"?>
<p:tagLst xmlns:p="http://schemas.openxmlformats.org/presentationml/2006/main">
  <p:tag name="THINKCELLSHAPEDONOTDELETE" val="po.pMEYyJYEasb8Uox_Vbmw"/>
</p:tagLst>
</file>

<file path=ppt/tags/tag44.xml><?xml version="1.0" encoding="utf-8"?>
<p:tagLst xmlns:p="http://schemas.openxmlformats.org/presentationml/2006/main">
  <p:tag name="THINKCELLSHAPEDONOTDELETE" val="pX1eDmLGSwEGgpmIebWRVuA"/>
</p:tagLst>
</file>

<file path=ppt/tags/tag45.xml><?xml version="1.0" encoding="utf-8"?>
<p:tagLst xmlns:p="http://schemas.openxmlformats.org/presentationml/2006/main">
  <p:tag name="THINKCELLSHAPEDONOTDELETE" val="pwnKJhuQED0GpzFQ26768yQ"/>
</p:tagLst>
</file>

<file path=ppt/tags/tag46.xml><?xml version="1.0" encoding="utf-8"?>
<p:tagLst xmlns:p="http://schemas.openxmlformats.org/presentationml/2006/main">
  <p:tag name="THINKCELLSHAPEDONOTDELETE" val="p_200JBd6eUG7TPQGJJlBOw"/>
</p:tagLst>
</file>

<file path=ppt/tags/tag47.xml><?xml version="1.0" encoding="utf-8"?>
<p:tagLst xmlns:p="http://schemas.openxmlformats.org/presentationml/2006/main">
  <p:tag name="THINKCELLSHAPEDONOTDELETE" val="pCDqB1JM2gEqnZ0kMfkCKsg"/>
</p:tagLst>
</file>

<file path=ppt/tags/tag48.xml><?xml version="1.0" encoding="utf-8"?>
<p:tagLst xmlns:p="http://schemas.openxmlformats.org/presentationml/2006/main">
  <p:tag name="THINKCELLSHAPEDONOTDELETE" val="prMdmDTSfd0qvbEoxFSay1Q"/>
</p:tagLst>
</file>

<file path=ppt/tags/tag49.xml><?xml version="1.0" encoding="utf-8"?>
<p:tagLst xmlns:p="http://schemas.openxmlformats.org/presentationml/2006/main">
  <p:tag name="THINKCELLSHAPEDONOTDELETE" val="pSWTrQE13xU.L5xUnKb3qDw"/>
</p:tagLst>
</file>

<file path=ppt/tags/tag5.xml><?xml version="1.0" encoding="utf-8"?>
<p:tagLst xmlns:p="http://schemas.openxmlformats.org/presentationml/2006/main">
  <p:tag name="THINKCELLSHAPEDONOTDELETE" val="pru6i3WGNqE6XLeAO8qeNFw"/>
</p:tagLst>
</file>

<file path=ppt/tags/tag50.xml><?xml version="1.0" encoding="utf-8"?>
<p:tagLst xmlns:p="http://schemas.openxmlformats.org/presentationml/2006/main">
  <p:tag name="THINKCELLSHAPEDONOTDELETE" val="p_YCrJppcvUWriWQWYbUJ5Q"/>
</p:tagLst>
</file>

<file path=ppt/tags/tag51.xml><?xml version="1.0" encoding="utf-8"?>
<p:tagLst xmlns:p="http://schemas.openxmlformats.org/presentationml/2006/main">
  <p:tag name="THINKCELLSHAPEDONOTDELETE" val="pypvDDh0BQ0at_WDWIzkqSQ"/>
</p:tagLst>
</file>

<file path=ppt/tags/tag52.xml><?xml version="1.0" encoding="utf-8"?>
<p:tagLst xmlns:p="http://schemas.openxmlformats.org/presentationml/2006/main">
  <p:tag name="THINKCELLSHAPEDONOTDELETE" val="p0bfs0w7phEiTb109X1So_w"/>
</p:tagLst>
</file>

<file path=ppt/tags/tag53.xml><?xml version="1.0" encoding="utf-8"?>
<p:tagLst xmlns:p="http://schemas.openxmlformats.org/presentationml/2006/main">
  <p:tag name="THINKCELLSHAPEDONOTDELETE" val="pCmSzS9ZBZ0anfHHK.E.WvA"/>
</p:tagLst>
</file>

<file path=ppt/tags/tag54.xml><?xml version="1.0" encoding="utf-8"?>
<p:tagLst xmlns:p="http://schemas.openxmlformats.org/presentationml/2006/main">
  <p:tag name="THINKCELLSHAPEDONOTDELETE" val="pC8p1mt5g30qV2o5LvMoPmQ"/>
</p:tagLst>
</file>

<file path=ppt/tags/tag55.xml><?xml version="1.0" encoding="utf-8"?>
<p:tagLst xmlns:p="http://schemas.openxmlformats.org/presentationml/2006/main">
  <p:tag name="THINKCELLSHAPEDONOTDELETE" val="poUUCsdObSEaeUYtEo_XGgQ"/>
</p:tagLst>
</file>

<file path=ppt/tags/tag56.xml><?xml version="1.0" encoding="utf-8"?>
<p:tagLst xmlns:p="http://schemas.openxmlformats.org/presentationml/2006/main">
  <p:tag name="THINKCELLSHAPEDONOTDELETE" val="pBxcngT0InkK4PQxVN1AG1Q"/>
</p:tagLst>
</file>

<file path=ppt/tags/tag57.xml><?xml version="1.0" encoding="utf-8"?>
<p:tagLst xmlns:p="http://schemas.openxmlformats.org/presentationml/2006/main">
  <p:tag name="THINKCELLSHAPEDONOTDELETE" val="pRu5Brco01EKD6xfxHYknpg"/>
</p:tagLst>
</file>

<file path=ppt/tags/tag58.xml><?xml version="1.0" encoding="utf-8"?>
<p:tagLst xmlns:p="http://schemas.openxmlformats.org/presentationml/2006/main">
  <p:tag name="THINKCELLSHAPEDONOTDELETE" val="pa1.iI2nf30SraP3rye3W2w"/>
</p:tagLst>
</file>

<file path=ppt/tags/tag59.xml><?xml version="1.0" encoding="utf-8"?>
<p:tagLst xmlns:p="http://schemas.openxmlformats.org/presentationml/2006/main">
  <p:tag name="THINKCELLSHAPEDONOTDELETE" val="pu2.nLyx5ZUqaVaDjdIlc0Q"/>
</p:tagLst>
</file>

<file path=ppt/tags/tag6.xml><?xml version="1.0" encoding="utf-8"?>
<p:tagLst xmlns:p="http://schemas.openxmlformats.org/presentationml/2006/main">
  <p:tag name="THINKCELLSHAPEDONOTDELETE" val="pp662_Y.LrkGmwDkfJmqcVA"/>
</p:tagLst>
</file>

<file path=ppt/tags/tag60.xml><?xml version="1.0" encoding="utf-8"?>
<p:tagLst xmlns:p="http://schemas.openxmlformats.org/presentationml/2006/main">
  <p:tag name="THINKCELLSHAPEDONOTDELETE" val="p2BBndox9.UOsI1UYUcqZbw"/>
</p:tagLst>
</file>

<file path=ppt/tags/tag61.xml><?xml version="1.0" encoding="utf-8"?>
<p:tagLst xmlns:p="http://schemas.openxmlformats.org/presentationml/2006/main">
  <p:tag name="THINKCELLSHAPEDONOTDELETE" val="pSkE_aUhCQ0GOdfH37a7a2A"/>
</p:tagLst>
</file>

<file path=ppt/tags/tag62.xml><?xml version="1.0" encoding="utf-8"?>
<p:tagLst xmlns:p="http://schemas.openxmlformats.org/presentationml/2006/main">
  <p:tag name="THINKCELLSHAPEDONOTDELETE" val="p6Zmebcbe_UuSX.KyT6IB0g"/>
</p:tagLst>
</file>

<file path=ppt/tags/tag63.xml><?xml version="1.0" encoding="utf-8"?>
<p:tagLst xmlns:p="http://schemas.openxmlformats.org/presentationml/2006/main">
  <p:tag name="THINKCELLSHAPEDONOTDELETE" val="p0ClUm9QMXkyPKAeY14QNjQ"/>
</p:tagLst>
</file>

<file path=ppt/tags/tag64.xml><?xml version="1.0" encoding="utf-8"?>
<p:tagLst xmlns:p="http://schemas.openxmlformats.org/presentationml/2006/main">
  <p:tag name="THINKCELLSHAPEDONOTDELETE" val="pMTgul203iE2Zmgxlx5c7ug"/>
</p:tagLst>
</file>

<file path=ppt/tags/tag65.xml><?xml version="1.0" encoding="utf-8"?>
<p:tagLst xmlns:p="http://schemas.openxmlformats.org/presentationml/2006/main">
  <p:tag name="THINKCELLSHAPEDONOTDELETE" val="pvltnCTOuUkaMvHrgimCX7w"/>
</p:tagLst>
</file>

<file path=ppt/tags/tag66.xml><?xml version="1.0" encoding="utf-8"?>
<p:tagLst xmlns:p="http://schemas.openxmlformats.org/presentationml/2006/main">
  <p:tag name="THINKCELLSHAPEDONOTDELETE" val="pm.ItrnwD00yPoVo2If73lQ"/>
</p:tagLst>
</file>

<file path=ppt/tags/tag67.xml><?xml version="1.0" encoding="utf-8"?>
<p:tagLst xmlns:p="http://schemas.openxmlformats.org/presentationml/2006/main">
  <p:tag name="THINKCELLSHAPEDONOTDELETE" val="p1Jv6AIKh7U6O8qmpraQJdg"/>
</p:tagLst>
</file>

<file path=ppt/tags/tag68.xml><?xml version="1.0" encoding="utf-8"?>
<p:tagLst xmlns:p="http://schemas.openxmlformats.org/presentationml/2006/main">
  <p:tag name="THINKCELLSHAPEDONOTDELETE" val="pi_aPx.Kq206u_OKHId1BXQ"/>
</p:tagLst>
</file>

<file path=ppt/tags/tag69.xml><?xml version="1.0" encoding="utf-8"?>
<p:tagLst xmlns:p="http://schemas.openxmlformats.org/presentationml/2006/main">
  <p:tag name="THINKCELLSHAPEDONOTDELETE" val="p_zKbZCjnTkWTy8QO_J4u4Q"/>
</p:tagLst>
</file>

<file path=ppt/tags/tag7.xml><?xml version="1.0" encoding="utf-8"?>
<p:tagLst xmlns:p="http://schemas.openxmlformats.org/presentationml/2006/main">
  <p:tag name="THINKCELLSHAPEDONOTDELETE" val="pyGi9m3uPZ0iDLODLhgoETg"/>
</p:tagLst>
</file>

<file path=ppt/tags/tag70.xml><?xml version="1.0" encoding="utf-8"?>
<p:tagLst xmlns:p="http://schemas.openxmlformats.org/presentationml/2006/main">
  <p:tag name="THINKCELLSHAPEDONOTDELETE" val="pRnH6J9UTAkuynemDppDdJA"/>
</p:tagLst>
</file>

<file path=ppt/tags/tag71.xml><?xml version="1.0" encoding="utf-8"?>
<p:tagLst xmlns:p="http://schemas.openxmlformats.org/presentationml/2006/main">
  <p:tag name="THINKCELLSHAPEDONOTDELETE" val="pru6i3WGNqE6XLeAO8qeNFw"/>
</p:tagLst>
</file>

<file path=ppt/tags/tag72.xml><?xml version="1.0" encoding="utf-8"?>
<p:tagLst xmlns:p="http://schemas.openxmlformats.org/presentationml/2006/main">
  <p:tag name="THINKCELLSHAPEDONOTDELETE" val="pp662_Y.LrkGmwDkfJmqcVA"/>
</p:tagLst>
</file>

<file path=ppt/tags/tag73.xml><?xml version="1.0" encoding="utf-8"?>
<p:tagLst xmlns:p="http://schemas.openxmlformats.org/presentationml/2006/main">
  <p:tag name="THINKCELLSHAPEDONOTDELETE" val="pyGi9m3uPZ0iDLODLhgoETg"/>
</p:tagLst>
</file>

<file path=ppt/tags/tag74.xml><?xml version="1.0" encoding="utf-8"?>
<p:tagLst xmlns:p="http://schemas.openxmlformats.org/presentationml/2006/main">
  <p:tag name="THINKCELLSHAPEDONOTDELETE" val="ppkUy9d1ONU6nF.ReLD9ynA"/>
</p:tagLst>
</file>

<file path=ppt/tags/tag75.xml><?xml version="1.0" encoding="utf-8"?>
<p:tagLst xmlns:p="http://schemas.openxmlformats.org/presentationml/2006/main">
  <p:tag name="THINKCELLSHAPEDONOTDELETE" val="pybd6362WW0._7L_U0qrpYw"/>
</p:tagLst>
</file>

<file path=ppt/tags/tag76.xml><?xml version="1.0" encoding="utf-8"?>
<p:tagLst xmlns:p="http://schemas.openxmlformats.org/presentationml/2006/main">
  <p:tag name="THINKCELLSHAPEDONOTDELETE" val="pqeSsNuXkBUiWntMBXzB3dw"/>
</p:tagLst>
</file>

<file path=ppt/tags/tag77.xml><?xml version="1.0" encoding="utf-8"?>
<p:tagLst xmlns:p="http://schemas.openxmlformats.org/presentationml/2006/main">
  <p:tag name="THINKCELLSHAPEDONOTDELETE" val="pPLOzBb5kfkGFxJGkNfSyIw"/>
</p:tagLst>
</file>

<file path=ppt/tags/tag78.xml><?xml version="1.0" encoding="utf-8"?>
<p:tagLst xmlns:p="http://schemas.openxmlformats.org/presentationml/2006/main">
  <p:tag name="THINKCELLSHAPEDONOTDELETE" val="pnITNRhUx90qgTBJ996nknw"/>
</p:tagLst>
</file>

<file path=ppt/tags/tag79.xml><?xml version="1.0" encoding="utf-8"?>
<p:tagLst xmlns:p="http://schemas.openxmlformats.org/presentationml/2006/main">
  <p:tag name="THINKCELLSHAPEDONOTDELETE" val="p7M3f6i2fjkq0nli5pv6.Ow"/>
</p:tagLst>
</file>

<file path=ppt/tags/tag8.xml><?xml version="1.0" encoding="utf-8"?>
<p:tagLst xmlns:p="http://schemas.openxmlformats.org/presentationml/2006/main">
  <p:tag name="THINKCELLSHAPEDONOTDELETE" val="ppkUy9d1ONU6nF.ReLD9ynA"/>
</p:tagLst>
</file>

<file path=ppt/tags/tag80.xml><?xml version="1.0" encoding="utf-8"?>
<p:tagLst xmlns:p="http://schemas.openxmlformats.org/presentationml/2006/main">
  <p:tag name="THINKCELLSHAPEDONOTDELETE" val="pRcyB7z0x_kubUkxYNXm1RQ"/>
</p:tagLst>
</file>

<file path=ppt/tags/tag81.xml><?xml version="1.0" encoding="utf-8"?>
<p:tagLst xmlns:p="http://schemas.openxmlformats.org/presentationml/2006/main">
  <p:tag name="THINKCELLSHAPEDONOTDELETE" val="pqlrByH30gUiJx8RvSqv4wg"/>
</p:tagLst>
</file>

<file path=ppt/tags/tag82.xml><?xml version="1.0" encoding="utf-8"?>
<p:tagLst xmlns:p="http://schemas.openxmlformats.org/presentationml/2006/main">
  <p:tag name="THINKCELLSHAPEDONOTDELETE" val="pKOSaKSnB5kKg7ULz._BKSg"/>
</p:tagLst>
</file>

<file path=ppt/tags/tag83.xml><?xml version="1.0" encoding="utf-8"?>
<p:tagLst xmlns:p="http://schemas.openxmlformats.org/presentationml/2006/main">
  <p:tag name="THINKCELLSHAPEDONOTDELETE" val="ps_aolWZhfUyXnH8v51OYYQ"/>
</p:tagLst>
</file>

<file path=ppt/tags/tag84.xml><?xml version="1.0" encoding="utf-8"?>
<p:tagLst xmlns:p="http://schemas.openxmlformats.org/presentationml/2006/main">
  <p:tag name="THINKCELLSHAPEDONOTDELETE" val="pAwz1T9xs1kisjdWdw.RtIg"/>
</p:tagLst>
</file>

<file path=ppt/tags/tag85.xml><?xml version="1.0" encoding="utf-8"?>
<p:tagLst xmlns:p="http://schemas.openxmlformats.org/presentationml/2006/main">
  <p:tag name="THINKCELLSHAPEDONOTDELETE" val="pXECiNspSWEGTHnk.gJIinw"/>
</p:tagLst>
</file>

<file path=ppt/tags/tag86.xml><?xml version="1.0" encoding="utf-8"?>
<p:tagLst xmlns:p="http://schemas.openxmlformats.org/presentationml/2006/main">
  <p:tag name="THINKCELLSHAPEDONOTDELETE" val="p5pAYNli4vEic7jhI0LagrQ"/>
</p:tagLst>
</file>

<file path=ppt/tags/tag87.xml><?xml version="1.0" encoding="utf-8"?>
<p:tagLst xmlns:p="http://schemas.openxmlformats.org/presentationml/2006/main">
  <p:tag name="THINKCELLSHAPEDONOTDELETE" val="p3CLMiAf73EamGg4OZLsCHQ"/>
</p:tagLst>
</file>

<file path=ppt/tags/tag88.xml><?xml version="1.0" encoding="utf-8"?>
<p:tagLst xmlns:p="http://schemas.openxmlformats.org/presentationml/2006/main">
  <p:tag name="THINKCELLSHAPEDONOTDELETE" val="pSNCRgr45LEq3h8i8xNaiUg"/>
</p:tagLst>
</file>

<file path=ppt/tags/tag89.xml><?xml version="1.0" encoding="utf-8"?>
<p:tagLst xmlns:p="http://schemas.openxmlformats.org/presentationml/2006/main">
  <p:tag name="THINKCELLSHAPEDONOTDELETE" val="pbmxojwbRiUuWmUL3DwwZOw"/>
</p:tagLst>
</file>

<file path=ppt/tags/tag9.xml><?xml version="1.0" encoding="utf-8"?>
<p:tagLst xmlns:p="http://schemas.openxmlformats.org/presentationml/2006/main">
  <p:tag name="THINKCELLSHAPEDONOTDELETE" val="pybd6362WW0._7L_U0qrpYw"/>
</p:tagLst>
</file>

<file path=ppt/tags/tag90.xml><?xml version="1.0" encoding="utf-8"?>
<p:tagLst xmlns:p="http://schemas.openxmlformats.org/presentationml/2006/main">
  <p:tag name="THINKCELLSHAPEDONOTDELETE" val="pok97VWahR0m9zAc5oAELPA"/>
</p:tagLst>
</file>

<file path=ppt/tags/tag91.xml><?xml version="1.0" encoding="utf-8"?>
<p:tagLst xmlns:p="http://schemas.openxmlformats.org/presentationml/2006/main">
  <p:tag name="THINKCELLSHAPEDONOTDELETE" val="pP6pu_eLkpEGPRDJKV0o_5w"/>
</p:tagLst>
</file>

<file path=ppt/tags/tag92.xml><?xml version="1.0" encoding="utf-8"?>
<p:tagLst xmlns:p="http://schemas.openxmlformats.org/presentationml/2006/main">
  <p:tag name="THINKCELLSHAPEDONOTDELETE" val="p5TO9UcJP9ka5asmiLeY_JQ"/>
</p:tagLst>
</file>

<file path=ppt/tags/tag93.xml><?xml version="1.0" encoding="utf-8"?>
<p:tagLst xmlns:p="http://schemas.openxmlformats.org/presentationml/2006/main">
  <p:tag name="THINKCELLSHAPEDONOTDELETE" val="pSqAXKLLohUyUofbopoROCg"/>
</p:tagLst>
</file>

<file path=ppt/tags/tag94.xml><?xml version="1.0" encoding="utf-8"?>
<p:tagLst xmlns:p="http://schemas.openxmlformats.org/presentationml/2006/main">
  <p:tag name="THINKCELLSHAPEDONOTDELETE" val="p9sSa8GL7TUCvUvEiQ57bYQ"/>
</p:tagLst>
</file>

<file path=ppt/tags/tag95.xml><?xml version="1.0" encoding="utf-8"?>
<p:tagLst xmlns:p="http://schemas.openxmlformats.org/presentationml/2006/main">
  <p:tag name="THINKCELLSHAPEDONOTDELETE" val="pE1yNkON1dk2l2nQHSvXuNg"/>
</p:tagLst>
</file>

<file path=ppt/tags/tag96.xml><?xml version="1.0" encoding="utf-8"?>
<p:tagLst xmlns:p="http://schemas.openxmlformats.org/presentationml/2006/main">
  <p:tag name="THINKCELLSHAPEDONOTDELETE" val="pju5870LW_kKT3H5TklvBXg"/>
</p:tagLst>
</file>

<file path=ppt/tags/tag97.xml><?xml version="1.0" encoding="utf-8"?>
<p:tagLst xmlns:p="http://schemas.openxmlformats.org/presentationml/2006/main">
  <p:tag name="THINKCELLSHAPEDONOTDELETE" val="pInkbaImDTEe.xI6CKMvDhw"/>
</p:tagLst>
</file>

<file path=ppt/tags/tag98.xml><?xml version="1.0" encoding="utf-8"?>
<p:tagLst xmlns:p="http://schemas.openxmlformats.org/presentationml/2006/main">
  <p:tag name="THINKCELLSHAPEDONOTDELETE" val="pst3fqyxR30WORw995J4EeA"/>
</p:tagLst>
</file>

<file path=ppt/tags/tag99.xml><?xml version="1.0" encoding="utf-8"?>
<p:tagLst xmlns:p="http://schemas.openxmlformats.org/presentationml/2006/main">
  <p:tag name="THINKCELLSHAPEDONOTDELETE" val="ppU15vzgV1E23kvrO9s5xIA"/>
</p:tagLst>
</file>

<file path=ppt/theme/theme1.xml><?xml version="1.0" encoding="utf-8"?>
<a:theme xmlns:a="http://schemas.openxmlformats.org/drawingml/2006/main" name="Office Theme">
  <a:themeElements>
    <a:clrScheme name="自定义 892">
      <a:dk1>
        <a:srgbClr val="7F7F7F"/>
      </a:dk1>
      <a:lt1>
        <a:srgbClr val="FFFFFF"/>
      </a:lt1>
      <a:dk2>
        <a:srgbClr val="494B4E"/>
      </a:dk2>
      <a:lt2>
        <a:srgbClr val="FFFFFF"/>
      </a:lt2>
      <a:accent1>
        <a:srgbClr val="494B4E"/>
      </a:accent1>
      <a:accent2>
        <a:srgbClr val="000000"/>
      </a:accent2>
      <a:accent3>
        <a:srgbClr val="4B5050"/>
      </a:accent3>
      <a:accent4>
        <a:srgbClr val="91969B"/>
      </a:accent4>
      <a:accent5>
        <a:srgbClr val="4B5050"/>
      </a:accent5>
      <a:accent6>
        <a:srgbClr val="91969B"/>
      </a:accent6>
      <a:hlink>
        <a:srgbClr val="F33B48"/>
      </a:hlink>
      <a:folHlink>
        <a:srgbClr val="FFC000"/>
      </a:folHlink>
    </a:clrScheme>
    <a:fontScheme name="标准1">
      <a:majorFont>
        <a:latin typeface="Calibri Light"/>
        <a:ea typeface="微软雅黑"/>
        <a:cs typeface=""/>
      </a:majorFont>
      <a:minorFont>
        <a:latin typeface="Calibri"/>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114</Words>
  <Application>WPS Presentation</Application>
  <PresentationFormat>全屏显示(16:9)</PresentationFormat>
  <Paragraphs>149</Paragraphs>
  <Slides>6</Slides>
  <Notes>2</Notes>
  <HiddenSlides>0</HiddenSlides>
  <MMClips>0</MMClips>
  <ScaleCrop>false</ScaleCrop>
  <HeadingPairs>
    <vt:vector size="6" baseType="variant">
      <vt:variant>
        <vt:lpstr>已用的字体</vt:lpstr>
      </vt:variant>
      <vt:variant>
        <vt:i4>17</vt:i4>
      </vt:variant>
      <vt:variant>
        <vt:lpstr>主题</vt:lpstr>
      </vt:variant>
      <vt:variant>
        <vt:i4>1</vt:i4>
      </vt:variant>
      <vt:variant>
        <vt:lpstr>幻灯片标题</vt:lpstr>
      </vt:variant>
      <vt:variant>
        <vt:i4>6</vt:i4>
      </vt:variant>
    </vt:vector>
  </HeadingPairs>
  <TitlesOfParts>
    <vt:vector size="24" baseType="lpstr">
      <vt:lpstr>Arial</vt:lpstr>
      <vt:lpstr>宋体</vt:lpstr>
      <vt:lpstr>Wingdings</vt:lpstr>
      <vt:lpstr>Calibri</vt:lpstr>
      <vt:lpstr>Lato Light</vt:lpstr>
      <vt:lpstr>Segoe Print</vt:lpstr>
      <vt:lpstr>MS PGothic</vt:lpstr>
      <vt:lpstr>Source Sans Pro Light</vt:lpstr>
      <vt:lpstr>Calibri Light</vt:lpstr>
      <vt:lpstr>方正宋刻本秀楷简体</vt:lpstr>
      <vt:lpstr>Gill Sans</vt:lpstr>
      <vt:lpstr>Helvetica Neue Light</vt:lpstr>
      <vt:lpstr>微软雅黑</vt:lpstr>
      <vt:lpstr>Arial Unicode MS</vt:lpstr>
      <vt:lpstr>ヒラギノ角ゴ ProN W3</vt:lpstr>
      <vt:lpstr>Open Sans</vt:lpstr>
      <vt:lpstr>Gill Sans MT</vt:lpstr>
      <vt:lpstr>Office Theme</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Eric羊</dc:creator>
  <cp:lastModifiedBy>peter</cp:lastModifiedBy>
  <cp:revision>91</cp:revision>
  <dcterms:created xsi:type="dcterms:W3CDTF">2017-05-02T06:39:00Z</dcterms:created>
  <dcterms:modified xsi:type="dcterms:W3CDTF">2024-04-26T05:3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2.2.0.16731</vt:lpwstr>
  </property>
  <property fmtid="{D5CDD505-2E9C-101B-9397-08002B2CF9AE}" pid="3" name="ICV">
    <vt:lpwstr>BB54C556D8D34BCF8D550FB3BF7DBE85_13</vt:lpwstr>
  </property>
</Properties>
</file>